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0"/>
  </p:notesMasterIdLst>
  <p:handoutMasterIdLst>
    <p:handoutMasterId r:id="rId21"/>
  </p:handoutMasterIdLst>
  <p:sldIdLst>
    <p:sldId id="709" r:id="rId2"/>
    <p:sldId id="294" r:id="rId3"/>
    <p:sldId id="686" r:id="rId4"/>
    <p:sldId id="689" r:id="rId5"/>
    <p:sldId id="687" r:id="rId6"/>
    <p:sldId id="681" r:id="rId7"/>
    <p:sldId id="680" r:id="rId8"/>
    <p:sldId id="672" r:id="rId9"/>
    <p:sldId id="702" r:id="rId10"/>
    <p:sldId id="693" r:id="rId11"/>
    <p:sldId id="692" r:id="rId12"/>
    <p:sldId id="676" r:id="rId13"/>
    <p:sldId id="717" r:id="rId14"/>
    <p:sldId id="670" r:id="rId15"/>
    <p:sldId id="706" r:id="rId16"/>
    <p:sldId id="712" r:id="rId17"/>
    <p:sldId id="713" r:id="rId18"/>
    <p:sldId id="719" r:id="rId19"/>
  </p:sldIdLst>
  <p:sldSz cx="12192000" cy="6858000"/>
  <p:notesSz cx="7053263" cy="9309100"/>
  <p:defaultTex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2184" userDrawn="1">
          <p15:clr>
            <a:srgbClr val="A4A3A4"/>
          </p15:clr>
        </p15:guide>
        <p15:guide id="2" pos="38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7171"/>
    <a:srgbClr val="006633"/>
    <a:srgbClr val="D6F7D3"/>
    <a:srgbClr val="0099FF"/>
    <a:srgbClr val="0776BB"/>
    <a:srgbClr val="CCE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4" autoAdjust="0"/>
    <p:restoredTop sz="93333" autoAdjust="0"/>
  </p:normalViewPr>
  <p:slideViewPr>
    <p:cSldViewPr snapToGrid="0" snapToObjects="1">
      <p:cViewPr varScale="1">
        <p:scale>
          <a:sx n="47" d="100"/>
          <a:sy n="47" d="100"/>
        </p:scale>
        <p:origin x="734" y="29"/>
      </p:cViewPr>
      <p:guideLst>
        <p:guide orient="horz" pos="2184"/>
        <p:guide pos="3816"/>
      </p:guideLst>
    </p:cSldViewPr>
  </p:slideViewPr>
  <p:outlineViewPr>
    <p:cViewPr>
      <p:scale>
        <a:sx n="33" d="100"/>
        <a:sy n="33" d="100"/>
      </p:scale>
      <p:origin x="0" y="234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D:\GLLSP\Phase%20II\PSC%2002062021\Tabl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691826921981869"/>
          <c:y val="3.8812236838975174E-2"/>
          <c:w val="0.42054587405674665"/>
          <c:h val="0.87102167977189915"/>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A69-49BB-A9E2-F204E852EE9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A69-49BB-A9E2-F204E852EE9C}"/>
              </c:ext>
            </c:extLst>
          </c:dPt>
          <c:dPt>
            <c:idx val="2"/>
            <c:bubble3D val="0"/>
            <c:explosion val="9"/>
            <c:spPr>
              <a:solidFill>
                <a:schemeClr val="accent3"/>
              </a:solidFill>
              <a:ln w="19050">
                <a:solidFill>
                  <a:schemeClr val="lt1"/>
                </a:solidFill>
              </a:ln>
              <a:effectLst/>
            </c:spPr>
            <c:extLst>
              <c:ext xmlns:c16="http://schemas.microsoft.com/office/drawing/2014/chart" uri="{C3380CC4-5D6E-409C-BE32-E72D297353CC}">
                <c16:uniqueId val="{00000005-9A69-49BB-A9E2-F204E852EE9C}"/>
              </c:ext>
            </c:extLst>
          </c:dPt>
          <c:dLbls>
            <c:dLbl>
              <c:idx val="1"/>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A69-49BB-A9E2-F204E852EE9C}"/>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E$21:$E$23</c:f>
              <c:strCache>
                <c:ptCount val="3"/>
                <c:pt idx="0">
                  <c:v>Community Development</c:v>
                </c:pt>
                <c:pt idx="1">
                  <c:v>Fisheries Value Chain Development</c:v>
                </c:pt>
                <c:pt idx="2">
                  <c:v>Project Management &amp; Policy Support</c:v>
                </c:pt>
              </c:strCache>
            </c:strRef>
          </c:cat>
          <c:val>
            <c:numRef>
              <c:f>Sheet1!$G$21:$G$23</c:f>
              <c:numCache>
                <c:formatCode>0%</c:formatCode>
                <c:ptCount val="3"/>
                <c:pt idx="0">
                  <c:v>0.35</c:v>
                </c:pt>
                <c:pt idx="1">
                  <c:v>0.6</c:v>
                </c:pt>
                <c:pt idx="2">
                  <c:v>0.06</c:v>
                </c:pt>
              </c:numCache>
            </c:numRef>
          </c:val>
          <c:extLst>
            <c:ext xmlns:c16="http://schemas.microsoft.com/office/drawing/2014/chart" uri="{C3380CC4-5D6E-409C-BE32-E72D297353CC}">
              <c16:uniqueId val="{00000006-9A69-49BB-A9E2-F204E852EE9C}"/>
            </c:ext>
          </c:extLst>
        </c:ser>
        <c:dLbls>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a:t>BUDGET SHARE</a:t>
            </a:r>
          </a:p>
        </c:rich>
      </c:tx>
      <c:layout>
        <c:manualLayout>
          <c:xMode val="edge"/>
          <c:yMode val="edge"/>
          <c:x val="9.7185443662180376E-2"/>
          <c:y val="0.1835867119070583"/>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31034427465441566"/>
          <c:y val="0"/>
          <c:w val="0.43137971797494074"/>
          <c:h val="0.91259711303390489"/>
        </c:manualLayout>
      </c:layout>
      <c:pieChart>
        <c:varyColors val="1"/>
        <c:ser>
          <c:idx val="0"/>
          <c:order val="0"/>
          <c:explosion val="2"/>
          <c:dPt>
            <c:idx val="0"/>
            <c:bubble3D val="0"/>
            <c:explosion val="1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8231-40E2-A147-3A0253A9A871}"/>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8231-40E2-A147-3A0253A9A871}"/>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8231-40E2-A147-3A0253A9A871}"/>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8231-40E2-A147-3A0253A9A871}"/>
              </c:ext>
            </c:extLst>
          </c:dPt>
          <c:dLbls>
            <c:dLbl>
              <c:idx val="1"/>
              <c:layout>
                <c:manualLayout>
                  <c:x val="-5.0319994351299129E-2"/>
                  <c:y val="0.1575125802673870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231-40E2-A147-3A0253A9A871}"/>
                </c:ext>
              </c:extLst>
            </c:dLbl>
            <c:dLbl>
              <c:idx val="3"/>
              <c:layout>
                <c:manualLayout>
                  <c:x val="8.0735879955994794E-2"/>
                  <c:y val="9.8356219513041215E-4"/>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231-40E2-A147-3A0253A9A871}"/>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2"/>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F$7:$F$10</c:f>
              <c:strCache>
                <c:ptCount val="4"/>
                <c:pt idx="0">
                  <c:v>IFAD Blend Term Loan</c:v>
                </c:pt>
                <c:pt idx="1">
                  <c:v>IFAD Grant</c:v>
                </c:pt>
                <c:pt idx="2">
                  <c:v>GoB</c:v>
                </c:pt>
                <c:pt idx="3">
                  <c:v>Beneficiary Cost</c:v>
                </c:pt>
              </c:strCache>
            </c:strRef>
          </c:cat>
          <c:val>
            <c:numRef>
              <c:f>Sheet1!$G$7:$G$10</c:f>
              <c:numCache>
                <c:formatCode>General</c:formatCode>
                <c:ptCount val="4"/>
                <c:pt idx="0" formatCode="#,##0.00">
                  <c:v>10234.121999999999</c:v>
                </c:pt>
                <c:pt idx="1">
                  <c:v>508.245</c:v>
                </c:pt>
                <c:pt idx="2" formatCode="#,##0.00">
                  <c:v>1478.501</c:v>
                </c:pt>
                <c:pt idx="3">
                  <c:v>107.681</c:v>
                </c:pt>
              </c:numCache>
            </c:numRef>
          </c:val>
          <c:extLst>
            <c:ext xmlns:c16="http://schemas.microsoft.com/office/drawing/2014/chart" uri="{C3380CC4-5D6E-409C-BE32-E72D297353CC}">
              <c16:uniqueId val="{00000008-8231-40E2-A147-3A0253A9A871}"/>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7.9197520038083169E-3"/>
          <c:y val="0.92598670388899296"/>
          <c:w val="0.99208024799619166"/>
          <c:h val="7.4013296111007029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DFA04-31EF-49B6-AFAE-2287858E0303}" type="doc">
      <dgm:prSet loTypeId="urn:microsoft.com/office/officeart/2016/7/layout/RoundedRectangleTimeline" loCatId="process" qsTypeId="urn:microsoft.com/office/officeart/2005/8/quickstyle/simple1" qsCatId="simple" csTypeId="urn:microsoft.com/office/officeart/2005/8/colors/accent1_2" csCatId="accent1" phldr="1"/>
      <dgm:spPr/>
      <dgm:t>
        <a:bodyPr/>
        <a:lstStyle/>
        <a:p>
          <a:endParaRPr lang="en-US"/>
        </a:p>
      </dgm:t>
    </dgm:pt>
    <dgm:pt modelId="{EBEA9F54-7364-45F9-829B-BF1EB38AEB12}" type="pres">
      <dgm:prSet presAssocID="{A86DFA04-31EF-49B6-AFAE-2287858E0303}" presName="Name0" presStyleCnt="0">
        <dgm:presLayoutVars>
          <dgm:chMax/>
          <dgm:chPref/>
          <dgm:animLvl val="lvl"/>
        </dgm:presLayoutVars>
      </dgm:prSet>
      <dgm:spPr/>
    </dgm:pt>
  </dgm:ptLst>
  <dgm:cxnLst>
    <dgm:cxn modelId="{AED1CC2F-C2A3-4A40-80FC-0F8E1651414C}" type="presOf" srcId="{A86DFA04-31EF-49B6-AFAE-2287858E0303}" destId="{EBEA9F54-7364-45F9-829B-BF1EB38AEB12}" srcOrd="0"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6DFA04-31EF-49B6-AFAE-2287858E0303}" type="doc">
      <dgm:prSet loTypeId="urn:microsoft.com/office/officeart/2016/7/layout/RoundedRectangleTimeline" loCatId="process" qsTypeId="urn:microsoft.com/office/officeart/2005/8/quickstyle/simple1" qsCatId="simple" csTypeId="urn:microsoft.com/office/officeart/2005/8/colors/accent1_2" csCatId="accent1" phldr="1"/>
      <dgm:spPr/>
      <dgm:t>
        <a:bodyPr/>
        <a:lstStyle/>
        <a:p>
          <a:endParaRPr lang="en-US"/>
        </a:p>
      </dgm:t>
    </dgm:pt>
    <dgm:pt modelId="{9B50AE85-DEA1-41F3-9C2C-24A18069C473}">
      <dgm:prSet/>
      <dgm:spPr/>
      <dgm:t>
        <a:bodyPr/>
        <a:lstStyle/>
        <a:p>
          <a:r>
            <a:rPr lang="en-US" dirty="0">
              <a:solidFill>
                <a:schemeClr val="tx1"/>
              </a:solidFill>
            </a:rPr>
            <a:t>Communication and Works Dept</a:t>
          </a:r>
        </a:p>
      </dgm:t>
    </dgm:pt>
    <dgm:pt modelId="{20A9B789-9B22-478C-970C-71496754809B}" type="parTrans" cxnId="{A4CE7A9B-B015-4E32-A86C-C3A08970D2FB}">
      <dgm:prSet/>
      <dgm:spPr/>
      <dgm:t>
        <a:bodyPr/>
        <a:lstStyle/>
        <a:p>
          <a:pPr algn="l"/>
          <a:endParaRPr lang="en-US"/>
        </a:p>
      </dgm:t>
    </dgm:pt>
    <dgm:pt modelId="{12A4AEA8-BC1D-4ADD-8236-A533A455F22E}" type="sibTrans" cxnId="{A4CE7A9B-B015-4E32-A86C-C3A08970D2FB}">
      <dgm:prSet/>
      <dgm:spPr/>
      <dgm:t>
        <a:bodyPr/>
        <a:lstStyle/>
        <a:p>
          <a:endParaRPr lang="en-US"/>
        </a:p>
      </dgm:t>
    </dgm:pt>
    <dgm:pt modelId="{82968BA3-DFCC-4B51-ABB1-F1F4791698B0}">
      <dgm:prSet/>
      <dgm:spPr/>
      <dgm:t>
        <a:bodyPr/>
        <a:lstStyle/>
        <a:p>
          <a:r>
            <a:rPr lang="en-US" dirty="0"/>
            <a:t>Feasibility and Construction of 120 KM Roads</a:t>
          </a:r>
        </a:p>
      </dgm:t>
    </dgm:pt>
    <dgm:pt modelId="{B474C1A9-9141-4567-8AA6-A8446206794E}" type="parTrans" cxnId="{E50EA410-61F4-443F-B045-5AC0708EA191}">
      <dgm:prSet/>
      <dgm:spPr/>
      <dgm:t>
        <a:bodyPr/>
        <a:lstStyle/>
        <a:p>
          <a:pPr algn="l"/>
          <a:endParaRPr lang="en-US"/>
        </a:p>
      </dgm:t>
    </dgm:pt>
    <dgm:pt modelId="{8BC987EC-BEB5-4480-B241-99E630336DA8}" type="sibTrans" cxnId="{E50EA410-61F4-443F-B045-5AC0708EA191}">
      <dgm:prSet/>
      <dgm:spPr/>
      <dgm:t>
        <a:bodyPr/>
        <a:lstStyle/>
        <a:p>
          <a:endParaRPr lang="en-US"/>
        </a:p>
      </dgm:t>
    </dgm:pt>
    <dgm:pt modelId="{B157653D-2397-47E3-94A8-8E8B13726408}">
      <dgm:prSet/>
      <dgm:spPr/>
      <dgm:t>
        <a:bodyPr/>
        <a:lstStyle/>
        <a:p>
          <a:r>
            <a:rPr lang="en-US" dirty="0">
              <a:solidFill>
                <a:schemeClr val="tx1"/>
              </a:solidFill>
            </a:rPr>
            <a:t>WFP/SUN Movement</a:t>
          </a:r>
        </a:p>
      </dgm:t>
    </dgm:pt>
    <dgm:pt modelId="{7C340691-872A-42EE-977C-5B833001E6A0}" type="parTrans" cxnId="{950692EB-01A7-4BA3-A03C-6D1E2A5F26EE}">
      <dgm:prSet/>
      <dgm:spPr/>
      <dgm:t>
        <a:bodyPr/>
        <a:lstStyle/>
        <a:p>
          <a:pPr algn="l"/>
          <a:endParaRPr lang="en-US"/>
        </a:p>
      </dgm:t>
    </dgm:pt>
    <dgm:pt modelId="{C11CD3A4-ED92-4609-A589-8DA6272582F8}" type="sibTrans" cxnId="{950692EB-01A7-4BA3-A03C-6D1E2A5F26EE}">
      <dgm:prSet/>
      <dgm:spPr/>
      <dgm:t>
        <a:bodyPr/>
        <a:lstStyle/>
        <a:p>
          <a:endParaRPr lang="en-US"/>
        </a:p>
      </dgm:t>
    </dgm:pt>
    <dgm:pt modelId="{CFC6C321-565B-4736-9600-0849B35804F7}">
      <dgm:prSet/>
      <dgm:spPr/>
      <dgm:t>
        <a:bodyPr/>
        <a:lstStyle/>
        <a:p>
          <a:r>
            <a:rPr lang="en-US" dirty="0">
              <a:solidFill>
                <a:schemeClr val="tx1"/>
              </a:solidFill>
            </a:rPr>
            <a:t>Nutrition</a:t>
          </a:r>
        </a:p>
        <a:p>
          <a:r>
            <a:rPr lang="en-US" b="1" dirty="0">
              <a:solidFill>
                <a:schemeClr val="tx1"/>
              </a:solidFill>
            </a:rPr>
            <a:t>Collaborative Interventions</a:t>
          </a:r>
          <a:endParaRPr lang="en-US" dirty="0">
            <a:solidFill>
              <a:schemeClr val="tx1"/>
            </a:solidFill>
          </a:endParaRPr>
        </a:p>
        <a:p>
          <a:endParaRPr lang="en-US" dirty="0"/>
        </a:p>
      </dgm:t>
    </dgm:pt>
    <dgm:pt modelId="{E16317D1-6F50-4823-97B7-A2996F0FE94D}" type="parTrans" cxnId="{1CBB0F56-2A16-469E-B30F-2E05729C9C4B}">
      <dgm:prSet/>
      <dgm:spPr/>
      <dgm:t>
        <a:bodyPr/>
        <a:lstStyle/>
        <a:p>
          <a:pPr algn="l"/>
          <a:endParaRPr lang="en-US"/>
        </a:p>
      </dgm:t>
    </dgm:pt>
    <dgm:pt modelId="{E552DB50-1B67-4762-89F9-7D3490111E2B}" type="sibTrans" cxnId="{1CBB0F56-2A16-469E-B30F-2E05729C9C4B}">
      <dgm:prSet/>
      <dgm:spPr/>
      <dgm:t>
        <a:bodyPr/>
        <a:lstStyle/>
        <a:p>
          <a:endParaRPr lang="en-US"/>
        </a:p>
      </dgm:t>
    </dgm:pt>
    <dgm:pt modelId="{EB669B84-D831-472E-8265-7F6B80F86771}">
      <dgm:prSet/>
      <dgm:spPr/>
      <dgm:t>
        <a:bodyPr/>
        <a:lstStyle/>
        <a:p>
          <a:r>
            <a:rPr lang="en-US" dirty="0">
              <a:solidFill>
                <a:schemeClr val="tx1"/>
              </a:solidFill>
            </a:rPr>
            <a:t>SMP (NRSP)</a:t>
          </a:r>
        </a:p>
      </dgm:t>
    </dgm:pt>
    <dgm:pt modelId="{3A1AD888-7B9D-4FA2-9DBD-890600BE47AE}" type="parTrans" cxnId="{993CDB9E-B8D2-41CF-8B58-6E417CA03C7C}">
      <dgm:prSet/>
      <dgm:spPr/>
      <dgm:t>
        <a:bodyPr/>
        <a:lstStyle/>
        <a:p>
          <a:endParaRPr lang="en-US"/>
        </a:p>
      </dgm:t>
    </dgm:pt>
    <dgm:pt modelId="{ED806E8B-4FE0-424B-B797-EC7AE4582E63}" type="sibTrans" cxnId="{993CDB9E-B8D2-41CF-8B58-6E417CA03C7C}">
      <dgm:prSet/>
      <dgm:spPr/>
      <dgm:t>
        <a:bodyPr/>
        <a:lstStyle/>
        <a:p>
          <a:endParaRPr lang="en-US"/>
        </a:p>
      </dgm:t>
    </dgm:pt>
    <dgm:pt modelId="{0EAF9DB4-80D6-4968-8882-3B4E6FDB3358}">
      <dgm:prSet/>
      <dgm:spPr/>
      <dgm:t>
        <a:bodyPr/>
        <a:lstStyle/>
        <a:p>
          <a:pPr algn="l">
            <a:buFont typeface="Wingdings" panose="05000000000000000000" pitchFamily="2" charset="2"/>
            <a:buChar char="§"/>
          </a:pPr>
          <a:r>
            <a:rPr lang="en-US" dirty="0"/>
            <a:t>Capacity Building for Participatory Development, Youth Employment</a:t>
          </a:r>
        </a:p>
      </dgm:t>
    </dgm:pt>
    <dgm:pt modelId="{4D566221-3A20-4E01-8B43-6B03A97A4B32}" type="parTrans" cxnId="{F66D5C52-40F8-445D-889A-E98E645997DC}">
      <dgm:prSet/>
      <dgm:spPr/>
      <dgm:t>
        <a:bodyPr/>
        <a:lstStyle/>
        <a:p>
          <a:endParaRPr lang="en-US"/>
        </a:p>
      </dgm:t>
    </dgm:pt>
    <dgm:pt modelId="{982A3015-BCD0-486F-994D-D0CDE0B3EE79}" type="sibTrans" cxnId="{F66D5C52-40F8-445D-889A-E98E645997DC}">
      <dgm:prSet/>
      <dgm:spPr/>
      <dgm:t>
        <a:bodyPr/>
        <a:lstStyle/>
        <a:p>
          <a:endParaRPr lang="en-US"/>
        </a:p>
      </dgm:t>
    </dgm:pt>
    <dgm:pt modelId="{7FE94FB3-E14C-495E-87E1-CEE0D760FDAD}">
      <dgm:prSet/>
      <dgm:spPr/>
      <dgm:t>
        <a:bodyPr/>
        <a:lstStyle/>
        <a:p>
          <a:r>
            <a:rPr lang="en-US" dirty="0">
              <a:solidFill>
                <a:schemeClr val="tx1"/>
              </a:solidFill>
            </a:rPr>
            <a:t>Fisheries Department</a:t>
          </a:r>
        </a:p>
      </dgm:t>
    </dgm:pt>
    <dgm:pt modelId="{7574247E-0F24-4101-BF55-A09F384E9908}" type="parTrans" cxnId="{9EE1C26B-FC46-4A3E-9CDC-697A42658B9A}">
      <dgm:prSet/>
      <dgm:spPr/>
      <dgm:t>
        <a:bodyPr/>
        <a:lstStyle/>
        <a:p>
          <a:endParaRPr lang="en-US"/>
        </a:p>
      </dgm:t>
    </dgm:pt>
    <dgm:pt modelId="{5D3642D4-FD5E-476C-AB8E-E3D6AA46E78D}" type="sibTrans" cxnId="{9EE1C26B-FC46-4A3E-9CDC-697A42658B9A}">
      <dgm:prSet/>
      <dgm:spPr/>
      <dgm:t>
        <a:bodyPr/>
        <a:lstStyle/>
        <a:p>
          <a:endParaRPr lang="en-US"/>
        </a:p>
      </dgm:t>
    </dgm:pt>
    <dgm:pt modelId="{20D00955-478F-4FC7-A63E-A64DAD68EBE5}">
      <dgm:prSet/>
      <dgm:spPr/>
      <dgm:t>
        <a:bodyPr/>
        <a:lstStyle/>
        <a:p>
          <a:r>
            <a:rPr lang="en-US" dirty="0">
              <a:solidFill>
                <a:schemeClr val="tx1"/>
              </a:solidFill>
            </a:rPr>
            <a:t>FAO</a:t>
          </a:r>
        </a:p>
      </dgm:t>
    </dgm:pt>
    <dgm:pt modelId="{E80899CC-BA95-443B-8D7C-D2FCC3CE6BC8}" type="parTrans" cxnId="{AFCC0436-8F18-4069-AD5C-3117A7C83227}">
      <dgm:prSet/>
      <dgm:spPr/>
      <dgm:t>
        <a:bodyPr/>
        <a:lstStyle/>
        <a:p>
          <a:endParaRPr lang="en-US"/>
        </a:p>
      </dgm:t>
    </dgm:pt>
    <dgm:pt modelId="{EB5664D6-484C-4F7B-94E9-A8ACB54C6181}" type="sibTrans" cxnId="{AFCC0436-8F18-4069-AD5C-3117A7C83227}">
      <dgm:prSet/>
      <dgm:spPr/>
      <dgm:t>
        <a:bodyPr/>
        <a:lstStyle/>
        <a:p>
          <a:endParaRPr lang="en-US"/>
        </a:p>
      </dgm:t>
    </dgm:pt>
    <dgm:pt modelId="{F06C99CE-A8F0-4BC5-A175-D003E7C22BD1}">
      <dgm:prSet/>
      <dgm:spPr/>
      <dgm:t>
        <a:bodyPr/>
        <a:lstStyle/>
        <a:p>
          <a:pPr algn="l">
            <a:buFont typeface="Wingdings" panose="05000000000000000000" pitchFamily="2" charset="2"/>
            <a:buChar char="§"/>
          </a:pPr>
          <a:r>
            <a:rPr lang="en-US" dirty="0"/>
            <a:t>Asset Transfer &amp; Women Empowerment</a:t>
          </a:r>
        </a:p>
      </dgm:t>
    </dgm:pt>
    <dgm:pt modelId="{0F98E95C-5B04-465B-B952-CB32FB8E9FD2}" type="parTrans" cxnId="{B8F9B6AE-D4D0-4E89-929F-CA9D5772997B}">
      <dgm:prSet/>
      <dgm:spPr/>
      <dgm:t>
        <a:bodyPr/>
        <a:lstStyle/>
        <a:p>
          <a:endParaRPr lang="en-US"/>
        </a:p>
      </dgm:t>
    </dgm:pt>
    <dgm:pt modelId="{C95548CB-DC49-4F52-9932-326B20259A43}" type="sibTrans" cxnId="{B8F9B6AE-D4D0-4E89-929F-CA9D5772997B}">
      <dgm:prSet/>
      <dgm:spPr/>
      <dgm:t>
        <a:bodyPr/>
        <a:lstStyle/>
        <a:p>
          <a:endParaRPr lang="en-US"/>
        </a:p>
      </dgm:t>
    </dgm:pt>
    <dgm:pt modelId="{FCDC2B81-0250-4197-B992-593A17B37059}">
      <dgm:prSet/>
      <dgm:spPr/>
      <dgm:t>
        <a:bodyPr/>
        <a:lstStyle/>
        <a:p>
          <a:pPr algn="l">
            <a:buFont typeface="Wingdings" panose="05000000000000000000" pitchFamily="2" charset="2"/>
            <a:buChar char="§"/>
          </a:pPr>
          <a:r>
            <a:rPr lang="en-US" dirty="0"/>
            <a:t>Community Physical Infrastructure</a:t>
          </a:r>
        </a:p>
      </dgm:t>
    </dgm:pt>
    <dgm:pt modelId="{2541BF5C-8C62-42C8-8CF1-5211EDA14628}" type="parTrans" cxnId="{208085A2-798A-4BC8-A0F8-3738C1487038}">
      <dgm:prSet/>
      <dgm:spPr/>
      <dgm:t>
        <a:bodyPr/>
        <a:lstStyle/>
        <a:p>
          <a:endParaRPr lang="en-US"/>
        </a:p>
      </dgm:t>
    </dgm:pt>
    <dgm:pt modelId="{C76750F2-3B0D-412D-BBFE-6A249EEB86EE}" type="sibTrans" cxnId="{208085A2-798A-4BC8-A0F8-3738C1487038}">
      <dgm:prSet/>
      <dgm:spPr/>
      <dgm:t>
        <a:bodyPr/>
        <a:lstStyle/>
        <a:p>
          <a:endParaRPr lang="en-US"/>
        </a:p>
      </dgm:t>
    </dgm:pt>
    <dgm:pt modelId="{FECE20F2-D5F8-4DBE-BF6B-7E09DA4A867F}">
      <dgm:prSet/>
      <dgm:spPr/>
      <dgm:t>
        <a:bodyPr/>
        <a:lstStyle/>
        <a:p>
          <a:pPr algn="l"/>
          <a:r>
            <a:rPr lang="en-US" dirty="0">
              <a:solidFill>
                <a:schemeClr val="tx1"/>
              </a:solidFill>
            </a:rPr>
            <a:t>Jetties and Allied Infrastructure</a:t>
          </a:r>
        </a:p>
      </dgm:t>
    </dgm:pt>
    <dgm:pt modelId="{DDC1883D-30C2-4B0E-814F-D6E60349A2DB}" type="parTrans" cxnId="{B9AF8E0A-FC8A-498C-878C-3CE73F1E27A0}">
      <dgm:prSet/>
      <dgm:spPr/>
      <dgm:t>
        <a:bodyPr/>
        <a:lstStyle/>
        <a:p>
          <a:endParaRPr lang="en-US"/>
        </a:p>
      </dgm:t>
    </dgm:pt>
    <dgm:pt modelId="{5FFAF903-F000-435E-810C-3280B97FAF9F}" type="sibTrans" cxnId="{B9AF8E0A-FC8A-498C-878C-3CE73F1E27A0}">
      <dgm:prSet/>
      <dgm:spPr/>
      <dgm:t>
        <a:bodyPr/>
        <a:lstStyle/>
        <a:p>
          <a:endParaRPr lang="en-US"/>
        </a:p>
      </dgm:t>
    </dgm:pt>
    <dgm:pt modelId="{23EE486B-98EB-4C9E-A6F5-1202D43EE3CE}">
      <dgm:prSet/>
      <dgm:spPr/>
      <dgm:t>
        <a:bodyPr/>
        <a:lstStyle/>
        <a:p>
          <a:pPr algn="l"/>
          <a:r>
            <a:rPr lang="en-US" dirty="0">
              <a:solidFill>
                <a:schemeClr val="tx1"/>
              </a:solidFill>
            </a:rPr>
            <a:t>Fisheries Value Chain Development</a:t>
          </a:r>
        </a:p>
        <a:p>
          <a:pPr algn="l"/>
          <a:r>
            <a:rPr lang="en-US" dirty="0">
              <a:solidFill>
                <a:schemeClr val="tx1"/>
              </a:solidFill>
            </a:rPr>
            <a:t>Capacity Building of Fisheries</a:t>
          </a:r>
        </a:p>
        <a:p>
          <a:pPr algn="l"/>
          <a:r>
            <a:rPr lang="en-US" dirty="0">
              <a:solidFill>
                <a:schemeClr val="tx1"/>
              </a:solidFill>
            </a:rPr>
            <a:t>Hatcheries and Innovative Aquaculture: </a:t>
          </a:r>
        </a:p>
      </dgm:t>
    </dgm:pt>
    <dgm:pt modelId="{9CE58E8A-8956-4C2F-B137-9BDD0A269B2B}" type="parTrans" cxnId="{848263A0-C190-41B4-AC4B-B465AE8597B2}">
      <dgm:prSet/>
      <dgm:spPr/>
      <dgm:t>
        <a:bodyPr/>
        <a:lstStyle/>
        <a:p>
          <a:endParaRPr lang="en-US"/>
        </a:p>
      </dgm:t>
    </dgm:pt>
    <dgm:pt modelId="{43B0779F-106E-428F-B824-661B1F80BB54}" type="sibTrans" cxnId="{848263A0-C190-41B4-AC4B-B465AE8597B2}">
      <dgm:prSet/>
      <dgm:spPr/>
      <dgm:t>
        <a:bodyPr/>
        <a:lstStyle/>
        <a:p>
          <a:endParaRPr lang="en-US"/>
        </a:p>
      </dgm:t>
    </dgm:pt>
    <dgm:pt modelId="{ED888DA8-8108-457C-B16E-8E19F8FACBB3}">
      <dgm:prSet/>
      <dgm:spPr/>
      <dgm:t>
        <a:bodyPr/>
        <a:lstStyle/>
        <a:p>
          <a:pPr algn="l">
            <a:buNone/>
          </a:pPr>
          <a:r>
            <a:rPr lang="en-US" b="1" dirty="0">
              <a:solidFill>
                <a:schemeClr val="tx1"/>
              </a:solidFill>
            </a:rPr>
            <a:t>Collaborative Interventions</a:t>
          </a:r>
        </a:p>
        <a:p>
          <a:pPr algn="l">
            <a:buFont typeface="Wingdings" panose="05000000000000000000" pitchFamily="2" charset="2"/>
            <a:buChar char="§"/>
          </a:pPr>
          <a:r>
            <a:rPr lang="en-US" dirty="0">
              <a:solidFill>
                <a:schemeClr val="tx1"/>
              </a:solidFill>
            </a:rPr>
            <a:t>Climate Resilient (Farming &amp; Husbandry) </a:t>
          </a:r>
        </a:p>
      </dgm:t>
    </dgm:pt>
    <dgm:pt modelId="{949B278E-5083-44F9-8C8A-BD29DD36017A}" type="parTrans" cxnId="{315F1305-2428-4302-9F60-C5290CB782A2}">
      <dgm:prSet/>
      <dgm:spPr/>
      <dgm:t>
        <a:bodyPr/>
        <a:lstStyle/>
        <a:p>
          <a:endParaRPr lang="en-US"/>
        </a:p>
      </dgm:t>
    </dgm:pt>
    <dgm:pt modelId="{D6A7849E-936D-4B66-B68C-A0AC3601EDA8}" type="sibTrans" cxnId="{315F1305-2428-4302-9F60-C5290CB782A2}">
      <dgm:prSet/>
      <dgm:spPr/>
      <dgm:t>
        <a:bodyPr/>
        <a:lstStyle/>
        <a:p>
          <a:endParaRPr lang="en-US"/>
        </a:p>
      </dgm:t>
    </dgm:pt>
    <dgm:pt modelId="{F071EA63-43E4-4484-AFB0-DF35BBB91E75}">
      <dgm:prSet/>
      <dgm:spPr/>
      <dgm:t>
        <a:bodyPr/>
        <a:lstStyle/>
        <a:p>
          <a:r>
            <a:rPr lang="en-US" dirty="0"/>
            <a:t>Business Plan’s (32) </a:t>
          </a:r>
        </a:p>
      </dgm:t>
    </dgm:pt>
    <dgm:pt modelId="{3D8FE7F2-651D-43B0-B54D-F6AD295286AC}" type="parTrans" cxnId="{3EEFD3E9-A517-45AF-AAA9-A485B74E729A}">
      <dgm:prSet/>
      <dgm:spPr/>
      <dgm:t>
        <a:bodyPr/>
        <a:lstStyle/>
        <a:p>
          <a:endParaRPr lang="en-US"/>
        </a:p>
      </dgm:t>
    </dgm:pt>
    <dgm:pt modelId="{2924ED88-9FCD-4ED5-8045-3C3DF6130B4B}" type="sibTrans" cxnId="{3EEFD3E9-A517-45AF-AAA9-A485B74E729A}">
      <dgm:prSet/>
      <dgm:spPr/>
      <dgm:t>
        <a:bodyPr/>
        <a:lstStyle/>
        <a:p>
          <a:endParaRPr lang="en-US"/>
        </a:p>
      </dgm:t>
    </dgm:pt>
    <dgm:pt modelId="{4890C18E-07F9-48FB-895A-E9EA8F2AFCA6}">
      <dgm:prSet/>
      <dgm:spPr/>
      <dgm:t>
        <a:bodyPr/>
        <a:lstStyle/>
        <a:p>
          <a:r>
            <a:rPr lang="en-US" dirty="0">
              <a:solidFill>
                <a:schemeClr val="accent4"/>
              </a:solidFill>
            </a:rPr>
            <a:t>Agribusiness Support Fund (ASF)</a:t>
          </a:r>
        </a:p>
      </dgm:t>
    </dgm:pt>
    <dgm:pt modelId="{0329F1CC-2048-4833-BE05-0A24B6D38239}" type="parTrans" cxnId="{9A578EB4-9779-4088-9BDF-A87A5CB69118}">
      <dgm:prSet/>
      <dgm:spPr/>
      <dgm:t>
        <a:bodyPr/>
        <a:lstStyle/>
        <a:p>
          <a:endParaRPr lang="en-US"/>
        </a:p>
      </dgm:t>
    </dgm:pt>
    <dgm:pt modelId="{171C81AC-8B65-42EE-BFD5-277B042390E5}" type="sibTrans" cxnId="{9A578EB4-9779-4088-9BDF-A87A5CB69118}">
      <dgm:prSet/>
      <dgm:spPr/>
      <dgm:t>
        <a:bodyPr/>
        <a:lstStyle/>
        <a:p>
          <a:endParaRPr lang="en-US"/>
        </a:p>
      </dgm:t>
    </dgm:pt>
    <dgm:pt modelId="{EBEA9F54-7364-45F9-829B-BF1EB38AEB12}" type="pres">
      <dgm:prSet presAssocID="{A86DFA04-31EF-49B6-AFAE-2287858E0303}" presName="Name0" presStyleCnt="0">
        <dgm:presLayoutVars>
          <dgm:chMax/>
          <dgm:chPref/>
          <dgm:animLvl val="lvl"/>
        </dgm:presLayoutVars>
      </dgm:prSet>
      <dgm:spPr/>
    </dgm:pt>
    <dgm:pt modelId="{995E51C8-ABB7-4396-BADB-921767E04C1A}" type="pres">
      <dgm:prSet presAssocID="{EB669B84-D831-472E-8265-7F6B80F86771}" presName="composite1" presStyleCnt="0"/>
      <dgm:spPr/>
    </dgm:pt>
    <dgm:pt modelId="{C6A9158A-BBFA-4DED-813A-1F0F318FE29F}" type="pres">
      <dgm:prSet presAssocID="{EB669B84-D831-472E-8265-7F6B80F86771}" presName="parent1" presStyleLbl="alignNode1" presStyleIdx="0" presStyleCnt="6">
        <dgm:presLayoutVars>
          <dgm:chMax val="1"/>
          <dgm:chPref val="1"/>
          <dgm:bulletEnabled val="1"/>
        </dgm:presLayoutVars>
      </dgm:prSet>
      <dgm:spPr/>
    </dgm:pt>
    <dgm:pt modelId="{8105213B-9B2C-4D83-9F1B-EF70780348BA}" type="pres">
      <dgm:prSet presAssocID="{EB669B84-D831-472E-8265-7F6B80F86771}" presName="Childtext1" presStyleLbl="revTx" presStyleIdx="0" presStyleCnt="6" custLinFactNeighborX="4712">
        <dgm:presLayoutVars>
          <dgm:bulletEnabled val="1"/>
        </dgm:presLayoutVars>
      </dgm:prSet>
      <dgm:spPr/>
    </dgm:pt>
    <dgm:pt modelId="{7102E1E0-B7C3-4F76-9491-A3B3966921CA}" type="pres">
      <dgm:prSet presAssocID="{EB669B84-D831-472E-8265-7F6B80F86771}" presName="ConnectLine1" presStyleLbl="sibTrans1D1" presStyleIdx="0" presStyleCnt="6"/>
      <dgm:spPr>
        <a:noFill/>
        <a:ln w="12700" cap="flat" cmpd="sng" algn="ctr">
          <a:solidFill>
            <a:schemeClr val="accent1">
              <a:hueOff val="0"/>
              <a:satOff val="0"/>
              <a:lumOff val="0"/>
              <a:alphaOff val="0"/>
            </a:schemeClr>
          </a:solidFill>
          <a:prstDash val="dash"/>
        </a:ln>
        <a:effectLst/>
      </dgm:spPr>
    </dgm:pt>
    <dgm:pt modelId="{DD1A325B-39E0-401C-8088-588A028688CE}" type="pres">
      <dgm:prSet presAssocID="{EB669B84-D831-472E-8265-7F6B80F86771}" presName="ConnectLineEnd1" presStyleLbl="lnNode1" presStyleIdx="0" presStyleCnt="6"/>
      <dgm:spPr/>
    </dgm:pt>
    <dgm:pt modelId="{F5651F38-BA2C-4413-9222-4693F958F28F}" type="pres">
      <dgm:prSet presAssocID="{EB669B84-D831-472E-8265-7F6B80F86771}" presName="EmptyPane1" presStyleCnt="0"/>
      <dgm:spPr/>
    </dgm:pt>
    <dgm:pt modelId="{FAB4E4F9-F125-48C6-8D09-CED9C80D9184}" type="pres">
      <dgm:prSet presAssocID="{ED806E8B-4FE0-424B-B797-EC7AE4582E63}" presName="spaceBetweenRectangles1" presStyleCnt="0"/>
      <dgm:spPr/>
    </dgm:pt>
    <dgm:pt modelId="{0352D030-C3E6-4937-85A7-3D93E8CF139A}" type="pres">
      <dgm:prSet presAssocID="{7FE94FB3-E14C-495E-87E1-CEE0D760FDAD}" presName="composite1" presStyleCnt="0"/>
      <dgm:spPr/>
    </dgm:pt>
    <dgm:pt modelId="{C19D86B8-BFD4-44AF-8D55-0D9A10A48DEE}" type="pres">
      <dgm:prSet presAssocID="{7FE94FB3-E14C-495E-87E1-CEE0D760FDAD}" presName="parent1" presStyleLbl="alignNode1" presStyleIdx="1" presStyleCnt="6">
        <dgm:presLayoutVars>
          <dgm:chMax val="1"/>
          <dgm:chPref val="1"/>
          <dgm:bulletEnabled val="1"/>
        </dgm:presLayoutVars>
      </dgm:prSet>
      <dgm:spPr/>
    </dgm:pt>
    <dgm:pt modelId="{F685149F-B90F-4BD4-9B54-2DEF8A8A4A6C}" type="pres">
      <dgm:prSet presAssocID="{7FE94FB3-E14C-495E-87E1-CEE0D760FDAD}" presName="Childtext1" presStyleLbl="revTx" presStyleIdx="1" presStyleCnt="6">
        <dgm:presLayoutVars>
          <dgm:bulletEnabled val="1"/>
        </dgm:presLayoutVars>
      </dgm:prSet>
      <dgm:spPr/>
    </dgm:pt>
    <dgm:pt modelId="{DCE1A16B-0636-427A-93E3-BFDA01FFB483}" type="pres">
      <dgm:prSet presAssocID="{7FE94FB3-E14C-495E-87E1-CEE0D760FDAD}" presName="ConnectLine1" presStyleLbl="sibTrans1D1" presStyleIdx="1" presStyleCnt="6"/>
      <dgm:spPr>
        <a:noFill/>
        <a:ln w="9525" cap="flat" cmpd="sng" algn="ctr">
          <a:solidFill>
            <a:schemeClr val="accent1">
              <a:hueOff val="0"/>
              <a:satOff val="0"/>
              <a:lumOff val="0"/>
              <a:alphaOff val="0"/>
            </a:schemeClr>
          </a:solidFill>
          <a:prstDash val="dash"/>
        </a:ln>
        <a:effectLst/>
      </dgm:spPr>
    </dgm:pt>
    <dgm:pt modelId="{FD99470D-5920-467F-A86B-A76835223625}" type="pres">
      <dgm:prSet presAssocID="{7FE94FB3-E14C-495E-87E1-CEE0D760FDAD}" presName="ConnectLineEnd1" presStyleLbl="lnNode1" presStyleIdx="1" presStyleCnt="6"/>
      <dgm:spPr/>
    </dgm:pt>
    <dgm:pt modelId="{7D7028E3-E8A7-4C88-B806-4F29A297CF8E}" type="pres">
      <dgm:prSet presAssocID="{7FE94FB3-E14C-495E-87E1-CEE0D760FDAD}" presName="EmptyPane1" presStyleCnt="0"/>
      <dgm:spPr/>
    </dgm:pt>
    <dgm:pt modelId="{C66E68F9-EA83-470F-AF13-44F46F1CEAF9}" type="pres">
      <dgm:prSet presAssocID="{5D3642D4-FD5E-476C-AB8E-E3D6AA46E78D}" presName="spaceBetweenRectangles1" presStyleCnt="0"/>
      <dgm:spPr/>
    </dgm:pt>
    <dgm:pt modelId="{F8C5B2F9-79EE-4E04-B7C0-943D65B8ED47}" type="pres">
      <dgm:prSet presAssocID="{4890C18E-07F9-48FB-895A-E9EA8F2AFCA6}" presName="composite1" presStyleCnt="0"/>
      <dgm:spPr/>
    </dgm:pt>
    <dgm:pt modelId="{2C9A4ABC-9A91-4F53-84B8-87032F6EABB5}" type="pres">
      <dgm:prSet presAssocID="{4890C18E-07F9-48FB-895A-E9EA8F2AFCA6}" presName="parent1" presStyleLbl="alignNode1" presStyleIdx="2" presStyleCnt="6">
        <dgm:presLayoutVars>
          <dgm:chMax val="1"/>
          <dgm:chPref val="1"/>
          <dgm:bulletEnabled val="1"/>
        </dgm:presLayoutVars>
      </dgm:prSet>
      <dgm:spPr/>
    </dgm:pt>
    <dgm:pt modelId="{32E39A59-9A6A-4FE0-A09B-A2BBABB99527}" type="pres">
      <dgm:prSet presAssocID="{4890C18E-07F9-48FB-895A-E9EA8F2AFCA6}" presName="Childtext1" presStyleLbl="revTx" presStyleIdx="2" presStyleCnt="6">
        <dgm:presLayoutVars>
          <dgm:bulletEnabled val="1"/>
        </dgm:presLayoutVars>
      </dgm:prSet>
      <dgm:spPr/>
    </dgm:pt>
    <dgm:pt modelId="{A1F95EA4-4E4A-4C87-8DEB-7FA5E4909DA9}" type="pres">
      <dgm:prSet presAssocID="{4890C18E-07F9-48FB-895A-E9EA8F2AFCA6}" presName="ConnectLine1" presStyleLbl="sibTrans1D1" presStyleIdx="2" presStyleCnt="6"/>
      <dgm:spPr>
        <a:noFill/>
        <a:ln w="9525" cap="flat" cmpd="sng" algn="ctr">
          <a:solidFill>
            <a:schemeClr val="accent1">
              <a:hueOff val="0"/>
              <a:satOff val="0"/>
              <a:lumOff val="0"/>
              <a:alphaOff val="0"/>
            </a:schemeClr>
          </a:solidFill>
          <a:prstDash val="dash"/>
        </a:ln>
        <a:effectLst/>
      </dgm:spPr>
    </dgm:pt>
    <dgm:pt modelId="{B2EDFE18-4AB4-4852-A119-30B21C8FF5D7}" type="pres">
      <dgm:prSet presAssocID="{4890C18E-07F9-48FB-895A-E9EA8F2AFCA6}" presName="ConnectLineEnd1" presStyleLbl="lnNode1" presStyleIdx="2" presStyleCnt="6"/>
      <dgm:spPr/>
    </dgm:pt>
    <dgm:pt modelId="{59E5C787-15FB-43F0-A9D4-07102AEDF5B8}" type="pres">
      <dgm:prSet presAssocID="{4890C18E-07F9-48FB-895A-E9EA8F2AFCA6}" presName="EmptyPane1" presStyleCnt="0"/>
      <dgm:spPr/>
    </dgm:pt>
    <dgm:pt modelId="{F5584B24-8C8B-4459-BE7A-0A805D734D8C}" type="pres">
      <dgm:prSet presAssocID="{171C81AC-8B65-42EE-BFD5-277B042390E5}" presName="spaceBetweenRectangles1" presStyleCnt="0"/>
      <dgm:spPr/>
    </dgm:pt>
    <dgm:pt modelId="{E5ACC412-2FBD-44C2-9121-B3EB973E5C66}" type="pres">
      <dgm:prSet presAssocID="{9B50AE85-DEA1-41F3-9C2C-24A18069C473}" presName="composite1" presStyleCnt="0"/>
      <dgm:spPr/>
    </dgm:pt>
    <dgm:pt modelId="{DF71F57E-D542-4163-95B1-92B1B114497F}" type="pres">
      <dgm:prSet presAssocID="{9B50AE85-DEA1-41F3-9C2C-24A18069C473}" presName="parent1" presStyleLbl="alignNode1" presStyleIdx="3" presStyleCnt="6">
        <dgm:presLayoutVars>
          <dgm:chMax val="1"/>
          <dgm:chPref val="1"/>
          <dgm:bulletEnabled val="1"/>
        </dgm:presLayoutVars>
      </dgm:prSet>
      <dgm:spPr/>
    </dgm:pt>
    <dgm:pt modelId="{C0317DA2-D763-4621-9680-990E0F78E293}" type="pres">
      <dgm:prSet presAssocID="{9B50AE85-DEA1-41F3-9C2C-24A18069C473}" presName="Childtext1" presStyleLbl="revTx" presStyleIdx="3" presStyleCnt="6">
        <dgm:presLayoutVars>
          <dgm:bulletEnabled val="1"/>
        </dgm:presLayoutVars>
      </dgm:prSet>
      <dgm:spPr/>
    </dgm:pt>
    <dgm:pt modelId="{6898D4C1-54F6-4DA4-9607-F444437C8E6E}" type="pres">
      <dgm:prSet presAssocID="{9B50AE85-DEA1-41F3-9C2C-24A18069C473}" presName="ConnectLine1" presStyleLbl="sibTrans1D1" presStyleIdx="3" presStyleCnt="6"/>
      <dgm:spPr>
        <a:noFill/>
        <a:ln w="12700" cap="flat" cmpd="sng" algn="ctr">
          <a:solidFill>
            <a:schemeClr val="accent1">
              <a:hueOff val="0"/>
              <a:satOff val="0"/>
              <a:lumOff val="0"/>
              <a:alphaOff val="0"/>
            </a:schemeClr>
          </a:solidFill>
          <a:prstDash val="dash"/>
        </a:ln>
        <a:effectLst/>
      </dgm:spPr>
    </dgm:pt>
    <dgm:pt modelId="{D73D486C-1D43-4208-9FD9-CC7C2550C1E8}" type="pres">
      <dgm:prSet presAssocID="{9B50AE85-DEA1-41F3-9C2C-24A18069C473}" presName="ConnectLineEnd1" presStyleLbl="lnNode1" presStyleIdx="3" presStyleCnt="6"/>
      <dgm:spPr/>
    </dgm:pt>
    <dgm:pt modelId="{4E7CBB81-AC5E-4EE7-85AC-B9C4581F507F}" type="pres">
      <dgm:prSet presAssocID="{9B50AE85-DEA1-41F3-9C2C-24A18069C473}" presName="EmptyPane1" presStyleCnt="0"/>
      <dgm:spPr/>
    </dgm:pt>
    <dgm:pt modelId="{CDBD900D-671A-4B7A-AEE1-255109BAB918}" type="pres">
      <dgm:prSet presAssocID="{12A4AEA8-BC1D-4ADD-8236-A533A455F22E}" presName="spaceBetweenRectangles1" presStyleCnt="0"/>
      <dgm:spPr/>
    </dgm:pt>
    <dgm:pt modelId="{0D8B1C66-2DE8-4EE4-808B-62FFD96EA016}" type="pres">
      <dgm:prSet presAssocID="{20D00955-478F-4FC7-A63E-A64DAD68EBE5}" presName="composite1" presStyleCnt="0"/>
      <dgm:spPr/>
    </dgm:pt>
    <dgm:pt modelId="{15806F64-7838-4DAA-A0FA-7BA3B336AE3F}" type="pres">
      <dgm:prSet presAssocID="{20D00955-478F-4FC7-A63E-A64DAD68EBE5}" presName="parent1" presStyleLbl="alignNode1" presStyleIdx="4" presStyleCnt="6">
        <dgm:presLayoutVars>
          <dgm:chMax val="1"/>
          <dgm:chPref val="1"/>
          <dgm:bulletEnabled val="1"/>
        </dgm:presLayoutVars>
      </dgm:prSet>
      <dgm:spPr/>
    </dgm:pt>
    <dgm:pt modelId="{D2BFE868-07FF-48DB-8338-8A7C6ED9998F}" type="pres">
      <dgm:prSet presAssocID="{20D00955-478F-4FC7-A63E-A64DAD68EBE5}" presName="Childtext1" presStyleLbl="revTx" presStyleIdx="4" presStyleCnt="6">
        <dgm:presLayoutVars>
          <dgm:bulletEnabled val="1"/>
        </dgm:presLayoutVars>
      </dgm:prSet>
      <dgm:spPr/>
    </dgm:pt>
    <dgm:pt modelId="{E5A47D71-1073-410A-8751-3C252482E604}" type="pres">
      <dgm:prSet presAssocID="{20D00955-478F-4FC7-A63E-A64DAD68EBE5}" presName="ConnectLine1" presStyleLbl="sibTrans1D1" presStyleIdx="4" presStyleCnt="6"/>
      <dgm:spPr>
        <a:noFill/>
        <a:ln w="9525" cap="flat" cmpd="sng" algn="ctr">
          <a:solidFill>
            <a:schemeClr val="accent1">
              <a:hueOff val="0"/>
              <a:satOff val="0"/>
              <a:lumOff val="0"/>
              <a:alphaOff val="0"/>
            </a:schemeClr>
          </a:solidFill>
          <a:prstDash val="dash"/>
        </a:ln>
        <a:effectLst/>
      </dgm:spPr>
    </dgm:pt>
    <dgm:pt modelId="{AD11F15F-2F35-43E9-AAA4-CF4FE6D2B984}" type="pres">
      <dgm:prSet presAssocID="{20D00955-478F-4FC7-A63E-A64DAD68EBE5}" presName="ConnectLineEnd1" presStyleLbl="lnNode1" presStyleIdx="4" presStyleCnt="6"/>
      <dgm:spPr/>
    </dgm:pt>
    <dgm:pt modelId="{A1DC5CF5-DF6B-411E-B4F2-20D3332D3C07}" type="pres">
      <dgm:prSet presAssocID="{20D00955-478F-4FC7-A63E-A64DAD68EBE5}" presName="EmptyPane1" presStyleCnt="0"/>
      <dgm:spPr/>
    </dgm:pt>
    <dgm:pt modelId="{48C0F29E-7C5F-4FCB-B3EE-9BA7AECF7074}" type="pres">
      <dgm:prSet presAssocID="{EB5664D6-484C-4F7B-94E9-A8ACB54C6181}" presName="spaceBetweenRectangles1" presStyleCnt="0"/>
      <dgm:spPr/>
    </dgm:pt>
    <dgm:pt modelId="{53484DED-F74E-4B4E-9E8B-3F206A29DEDD}" type="pres">
      <dgm:prSet presAssocID="{B157653D-2397-47E3-94A8-8E8B13726408}" presName="composite1" presStyleCnt="0"/>
      <dgm:spPr/>
    </dgm:pt>
    <dgm:pt modelId="{C0D22B8F-54BF-4FAE-9F7C-B58FA74468D0}" type="pres">
      <dgm:prSet presAssocID="{B157653D-2397-47E3-94A8-8E8B13726408}" presName="parent1" presStyleLbl="alignNode1" presStyleIdx="5" presStyleCnt="6">
        <dgm:presLayoutVars>
          <dgm:chMax val="1"/>
          <dgm:chPref val="1"/>
          <dgm:bulletEnabled val="1"/>
        </dgm:presLayoutVars>
      </dgm:prSet>
      <dgm:spPr/>
    </dgm:pt>
    <dgm:pt modelId="{E1F35975-00CA-4B74-AB7C-CD8812C99AEF}" type="pres">
      <dgm:prSet presAssocID="{B157653D-2397-47E3-94A8-8E8B13726408}" presName="Childtext1" presStyleLbl="revTx" presStyleIdx="5" presStyleCnt="6">
        <dgm:presLayoutVars>
          <dgm:bulletEnabled val="1"/>
        </dgm:presLayoutVars>
      </dgm:prSet>
      <dgm:spPr/>
    </dgm:pt>
    <dgm:pt modelId="{152FB453-AA1C-4C6D-86AE-2A7A4BF73B8B}" type="pres">
      <dgm:prSet presAssocID="{B157653D-2397-47E3-94A8-8E8B13726408}" presName="ConnectLine1" presStyleLbl="sibTrans1D1" presStyleIdx="5" presStyleCnt="6"/>
      <dgm:spPr>
        <a:noFill/>
        <a:ln w="12700" cap="flat" cmpd="sng" algn="ctr">
          <a:solidFill>
            <a:schemeClr val="accent1">
              <a:hueOff val="0"/>
              <a:satOff val="0"/>
              <a:lumOff val="0"/>
              <a:alphaOff val="0"/>
            </a:schemeClr>
          </a:solidFill>
          <a:prstDash val="dash"/>
        </a:ln>
        <a:effectLst/>
      </dgm:spPr>
    </dgm:pt>
    <dgm:pt modelId="{BC9CEA29-8429-48CF-B30A-81626D4345E2}" type="pres">
      <dgm:prSet presAssocID="{B157653D-2397-47E3-94A8-8E8B13726408}" presName="ConnectLineEnd1" presStyleLbl="lnNode1" presStyleIdx="5" presStyleCnt="6"/>
      <dgm:spPr/>
    </dgm:pt>
    <dgm:pt modelId="{F432CF4A-CFEA-4E45-BD59-26AD14D60A5D}" type="pres">
      <dgm:prSet presAssocID="{B157653D-2397-47E3-94A8-8E8B13726408}" presName="EmptyPane1" presStyleCnt="0"/>
      <dgm:spPr/>
    </dgm:pt>
  </dgm:ptLst>
  <dgm:cxnLst>
    <dgm:cxn modelId="{C84BFE01-7F09-47C7-A8CC-D0FA599BD798}" type="presOf" srcId="{EB669B84-D831-472E-8265-7F6B80F86771}" destId="{C6A9158A-BBFA-4DED-813A-1F0F318FE29F}" srcOrd="0" destOrd="0" presId="urn:microsoft.com/office/officeart/2016/7/layout/RoundedRectangleTimeline"/>
    <dgm:cxn modelId="{6BA15C02-18D9-4A19-BFDC-ADDCC747F1AA}" type="presOf" srcId="{F06C99CE-A8F0-4BC5-A175-D003E7C22BD1}" destId="{8105213B-9B2C-4D83-9F1B-EF70780348BA}" srcOrd="0" destOrd="1" presId="urn:microsoft.com/office/officeart/2016/7/layout/RoundedRectangleTimeline"/>
    <dgm:cxn modelId="{36D05003-B269-445F-BC35-788CF94FF428}" type="presOf" srcId="{20D00955-478F-4FC7-A63E-A64DAD68EBE5}" destId="{15806F64-7838-4DAA-A0FA-7BA3B336AE3F}" srcOrd="0" destOrd="0" presId="urn:microsoft.com/office/officeart/2016/7/layout/RoundedRectangleTimeline"/>
    <dgm:cxn modelId="{315F1305-2428-4302-9F60-C5290CB782A2}" srcId="{20D00955-478F-4FC7-A63E-A64DAD68EBE5}" destId="{ED888DA8-8108-457C-B16E-8E19F8FACBB3}" srcOrd="0" destOrd="0" parTransId="{949B278E-5083-44F9-8C8A-BD29DD36017A}" sibTransId="{D6A7849E-936D-4B66-B68C-A0AC3601EDA8}"/>
    <dgm:cxn modelId="{B9AF8E0A-FC8A-498C-878C-3CE73F1E27A0}" srcId="{7FE94FB3-E14C-495E-87E1-CEE0D760FDAD}" destId="{FECE20F2-D5F8-4DBE-BF6B-7E09DA4A867F}" srcOrd="0" destOrd="0" parTransId="{DDC1883D-30C2-4B0E-814F-D6E60349A2DB}" sibTransId="{5FFAF903-F000-435E-810C-3280B97FAF9F}"/>
    <dgm:cxn modelId="{E50EA410-61F4-443F-B045-5AC0708EA191}" srcId="{9B50AE85-DEA1-41F3-9C2C-24A18069C473}" destId="{82968BA3-DFCC-4B51-ABB1-F1F4791698B0}" srcOrd="0" destOrd="0" parTransId="{B474C1A9-9141-4567-8AA6-A8446206794E}" sibTransId="{8BC987EC-BEB5-4480-B241-99E630336DA8}"/>
    <dgm:cxn modelId="{AED1CC2F-C2A3-4A40-80FC-0F8E1651414C}" type="presOf" srcId="{A86DFA04-31EF-49B6-AFAE-2287858E0303}" destId="{EBEA9F54-7364-45F9-829B-BF1EB38AEB12}" srcOrd="0" destOrd="0" presId="urn:microsoft.com/office/officeart/2016/7/layout/RoundedRectangleTimeline"/>
    <dgm:cxn modelId="{AFCC0436-8F18-4069-AD5C-3117A7C83227}" srcId="{A86DFA04-31EF-49B6-AFAE-2287858E0303}" destId="{20D00955-478F-4FC7-A63E-A64DAD68EBE5}" srcOrd="4" destOrd="0" parTransId="{E80899CC-BA95-443B-8D7C-D2FCC3CE6BC8}" sibTransId="{EB5664D6-484C-4F7B-94E9-A8ACB54C6181}"/>
    <dgm:cxn modelId="{0E719E5B-3D8B-44D1-9A7F-38742818F093}" type="presOf" srcId="{0EAF9DB4-80D6-4968-8882-3B4E6FDB3358}" destId="{8105213B-9B2C-4D83-9F1B-EF70780348BA}" srcOrd="0" destOrd="0" presId="urn:microsoft.com/office/officeart/2016/7/layout/RoundedRectangleTimeline"/>
    <dgm:cxn modelId="{03F72D4B-3C23-4F56-BBBE-F9513E7B3D61}" type="presOf" srcId="{23EE486B-98EB-4C9E-A6F5-1202D43EE3CE}" destId="{F685149F-B90F-4BD4-9B54-2DEF8A8A4A6C}" srcOrd="0" destOrd="1" presId="urn:microsoft.com/office/officeart/2016/7/layout/RoundedRectangleTimeline"/>
    <dgm:cxn modelId="{9EE1C26B-FC46-4A3E-9CDC-697A42658B9A}" srcId="{A86DFA04-31EF-49B6-AFAE-2287858E0303}" destId="{7FE94FB3-E14C-495E-87E1-CEE0D760FDAD}" srcOrd="1" destOrd="0" parTransId="{7574247E-0F24-4101-BF55-A09F384E9908}" sibTransId="{5D3642D4-FD5E-476C-AB8E-E3D6AA46E78D}"/>
    <dgm:cxn modelId="{F66D5C52-40F8-445D-889A-E98E645997DC}" srcId="{EB669B84-D831-472E-8265-7F6B80F86771}" destId="{0EAF9DB4-80D6-4968-8882-3B4E6FDB3358}" srcOrd="0" destOrd="0" parTransId="{4D566221-3A20-4E01-8B43-6B03A97A4B32}" sibTransId="{982A3015-BCD0-486F-994D-D0CDE0B3EE79}"/>
    <dgm:cxn modelId="{1CBB0F56-2A16-469E-B30F-2E05729C9C4B}" srcId="{B157653D-2397-47E3-94A8-8E8B13726408}" destId="{CFC6C321-565B-4736-9600-0849B35804F7}" srcOrd="0" destOrd="0" parTransId="{E16317D1-6F50-4823-97B7-A2996F0FE94D}" sibTransId="{E552DB50-1B67-4762-89F9-7D3490111E2B}"/>
    <dgm:cxn modelId="{BB869182-3320-4121-9AE4-CA77991AEBA7}" type="presOf" srcId="{FCDC2B81-0250-4197-B992-593A17B37059}" destId="{8105213B-9B2C-4D83-9F1B-EF70780348BA}" srcOrd="0" destOrd="2" presId="urn:microsoft.com/office/officeart/2016/7/layout/RoundedRectangleTimeline"/>
    <dgm:cxn modelId="{D3EFE38B-1F00-41FD-8745-9CC7FE689B57}" type="presOf" srcId="{9B50AE85-DEA1-41F3-9C2C-24A18069C473}" destId="{DF71F57E-D542-4163-95B1-92B1B114497F}" srcOrd="0" destOrd="0" presId="urn:microsoft.com/office/officeart/2016/7/layout/RoundedRectangleTimeline"/>
    <dgm:cxn modelId="{20F4E18F-1D71-40FC-A803-552B7342E54F}" type="presOf" srcId="{FECE20F2-D5F8-4DBE-BF6B-7E09DA4A867F}" destId="{F685149F-B90F-4BD4-9B54-2DEF8A8A4A6C}" srcOrd="0" destOrd="0" presId="urn:microsoft.com/office/officeart/2016/7/layout/RoundedRectangleTimeline"/>
    <dgm:cxn modelId="{466EA091-66AE-442D-883C-6EEDA6CEC2D7}" type="presOf" srcId="{ED888DA8-8108-457C-B16E-8E19F8FACBB3}" destId="{D2BFE868-07FF-48DB-8338-8A7C6ED9998F}" srcOrd="0" destOrd="0" presId="urn:microsoft.com/office/officeart/2016/7/layout/RoundedRectangleTimeline"/>
    <dgm:cxn modelId="{20D8CE92-2D07-4A59-B821-9D12C4FCA392}" type="presOf" srcId="{B157653D-2397-47E3-94A8-8E8B13726408}" destId="{C0D22B8F-54BF-4FAE-9F7C-B58FA74468D0}" srcOrd="0" destOrd="0" presId="urn:microsoft.com/office/officeart/2016/7/layout/RoundedRectangleTimeline"/>
    <dgm:cxn modelId="{07B3E394-924A-4E99-AC7E-5E7641F79E97}" type="presOf" srcId="{CFC6C321-565B-4736-9600-0849B35804F7}" destId="{E1F35975-00CA-4B74-AB7C-CD8812C99AEF}" srcOrd="0" destOrd="0" presId="urn:microsoft.com/office/officeart/2016/7/layout/RoundedRectangleTimeline"/>
    <dgm:cxn modelId="{4F4FA895-CE6E-43CE-9D41-E33356D7E616}" type="presOf" srcId="{F071EA63-43E4-4484-AFB0-DF35BBB91E75}" destId="{32E39A59-9A6A-4FE0-A09B-A2BBABB99527}" srcOrd="0" destOrd="0" presId="urn:microsoft.com/office/officeart/2016/7/layout/RoundedRectangleTimeline"/>
    <dgm:cxn modelId="{A4CE7A9B-B015-4E32-A86C-C3A08970D2FB}" srcId="{A86DFA04-31EF-49B6-AFAE-2287858E0303}" destId="{9B50AE85-DEA1-41F3-9C2C-24A18069C473}" srcOrd="3" destOrd="0" parTransId="{20A9B789-9B22-478C-970C-71496754809B}" sibTransId="{12A4AEA8-BC1D-4ADD-8236-A533A455F22E}"/>
    <dgm:cxn modelId="{993CDB9E-B8D2-41CF-8B58-6E417CA03C7C}" srcId="{A86DFA04-31EF-49B6-AFAE-2287858E0303}" destId="{EB669B84-D831-472E-8265-7F6B80F86771}" srcOrd="0" destOrd="0" parTransId="{3A1AD888-7B9D-4FA2-9DBD-890600BE47AE}" sibTransId="{ED806E8B-4FE0-424B-B797-EC7AE4582E63}"/>
    <dgm:cxn modelId="{848263A0-C190-41B4-AC4B-B465AE8597B2}" srcId="{7FE94FB3-E14C-495E-87E1-CEE0D760FDAD}" destId="{23EE486B-98EB-4C9E-A6F5-1202D43EE3CE}" srcOrd="1" destOrd="0" parTransId="{9CE58E8A-8956-4C2F-B137-9BDD0A269B2B}" sibTransId="{43B0779F-106E-428F-B824-661B1F80BB54}"/>
    <dgm:cxn modelId="{208085A2-798A-4BC8-A0F8-3738C1487038}" srcId="{EB669B84-D831-472E-8265-7F6B80F86771}" destId="{FCDC2B81-0250-4197-B992-593A17B37059}" srcOrd="2" destOrd="0" parTransId="{2541BF5C-8C62-42C8-8CF1-5211EDA14628}" sibTransId="{C76750F2-3B0D-412D-BBFE-6A249EEB86EE}"/>
    <dgm:cxn modelId="{B8F9B6AE-D4D0-4E89-929F-CA9D5772997B}" srcId="{EB669B84-D831-472E-8265-7F6B80F86771}" destId="{F06C99CE-A8F0-4BC5-A175-D003E7C22BD1}" srcOrd="1" destOrd="0" parTransId="{0F98E95C-5B04-465B-B952-CB32FB8E9FD2}" sibTransId="{C95548CB-DC49-4F52-9932-326B20259A43}"/>
    <dgm:cxn modelId="{9A578EB4-9779-4088-9BDF-A87A5CB69118}" srcId="{A86DFA04-31EF-49B6-AFAE-2287858E0303}" destId="{4890C18E-07F9-48FB-895A-E9EA8F2AFCA6}" srcOrd="2" destOrd="0" parTransId="{0329F1CC-2048-4833-BE05-0A24B6D38239}" sibTransId="{171C81AC-8B65-42EE-BFD5-277B042390E5}"/>
    <dgm:cxn modelId="{B41B21B6-FB4A-4EAC-9132-127B4FF98B65}" type="presOf" srcId="{7FE94FB3-E14C-495E-87E1-CEE0D760FDAD}" destId="{C19D86B8-BFD4-44AF-8D55-0D9A10A48DEE}" srcOrd="0" destOrd="0" presId="urn:microsoft.com/office/officeart/2016/7/layout/RoundedRectangleTimeline"/>
    <dgm:cxn modelId="{3E72DCDC-54B2-40A9-ABB1-C713A9B085BE}" type="presOf" srcId="{4890C18E-07F9-48FB-895A-E9EA8F2AFCA6}" destId="{2C9A4ABC-9A91-4F53-84B8-87032F6EABB5}" srcOrd="0" destOrd="0" presId="urn:microsoft.com/office/officeart/2016/7/layout/RoundedRectangleTimeline"/>
    <dgm:cxn modelId="{3EEFD3E9-A517-45AF-AAA9-A485B74E729A}" srcId="{4890C18E-07F9-48FB-895A-E9EA8F2AFCA6}" destId="{F071EA63-43E4-4484-AFB0-DF35BBB91E75}" srcOrd="0" destOrd="0" parTransId="{3D8FE7F2-651D-43B0-B54D-F6AD295286AC}" sibTransId="{2924ED88-9FCD-4ED5-8045-3C3DF6130B4B}"/>
    <dgm:cxn modelId="{950692EB-01A7-4BA3-A03C-6D1E2A5F26EE}" srcId="{A86DFA04-31EF-49B6-AFAE-2287858E0303}" destId="{B157653D-2397-47E3-94A8-8E8B13726408}" srcOrd="5" destOrd="0" parTransId="{7C340691-872A-42EE-977C-5B833001E6A0}" sibTransId="{C11CD3A4-ED92-4609-A589-8DA6272582F8}"/>
    <dgm:cxn modelId="{D9D51CFE-E223-4A82-83D4-CCF2F6A69193}" type="presOf" srcId="{82968BA3-DFCC-4B51-ABB1-F1F4791698B0}" destId="{C0317DA2-D763-4621-9680-990E0F78E293}" srcOrd="0" destOrd="0" presId="urn:microsoft.com/office/officeart/2016/7/layout/RoundedRectangleTimeline"/>
    <dgm:cxn modelId="{D403E6DE-7780-4760-9222-FAF55FAA6449}" type="presParOf" srcId="{EBEA9F54-7364-45F9-829B-BF1EB38AEB12}" destId="{995E51C8-ABB7-4396-BADB-921767E04C1A}" srcOrd="0" destOrd="0" presId="urn:microsoft.com/office/officeart/2016/7/layout/RoundedRectangleTimeline"/>
    <dgm:cxn modelId="{0AFDC720-6BAC-42CD-A3FC-A736836E6AEF}" type="presParOf" srcId="{995E51C8-ABB7-4396-BADB-921767E04C1A}" destId="{C6A9158A-BBFA-4DED-813A-1F0F318FE29F}" srcOrd="0" destOrd="0" presId="urn:microsoft.com/office/officeart/2016/7/layout/RoundedRectangleTimeline"/>
    <dgm:cxn modelId="{8B481E7D-7B70-4CBC-8DF1-9C517B83FBF0}" type="presParOf" srcId="{995E51C8-ABB7-4396-BADB-921767E04C1A}" destId="{8105213B-9B2C-4D83-9F1B-EF70780348BA}" srcOrd="1" destOrd="0" presId="urn:microsoft.com/office/officeart/2016/7/layout/RoundedRectangleTimeline"/>
    <dgm:cxn modelId="{1669E34F-92E7-4BF6-AF64-E91FEBCC528D}" type="presParOf" srcId="{995E51C8-ABB7-4396-BADB-921767E04C1A}" destId="{7102E1E0-B7C3-4F76-9491-A3B3966921CA}" srcOrd="2" destOrd="0" presId="urn:microsoft.com/office/officeart/2016/7/layout/RoundedRectangleTimeline"/>
    <dgm:cxn modelId="{0B5B73CF-5A86-4838-A527-5ABC376BBF68}" type="presParOf" srcId="{995E51C8-ABB7-4396-BADB-921767E04C1A}" destId="{DD1A325B-39E0-401C-8088-588A028688CE}" srcOrd="3" destOrd="0" presId="urn:microsoft.com/office/officeart/2016/7/layout/RoundedRectangleTimeline"/>
    <dgm:cxn modelId="{47F7BC04-C0B0-4C98-8DE1-F8016A123C6D}" type="presParOf" srcId="{995E51C8-ABB7-4396-BADB-921767E04C1A}" destId="{F5651F38-BA2C-4413-9222-4693F958F28F}" srcOrd="4" destOrd="0" presId="urn:microsoft.com/office/officeart/2016/7/layout/RoundedRectangleTimeline"/>
    <dgm:cxn modelId="{6E31BF25-BBA0-4CE1-9EA6-A8316B0DF7E7}" type="presParOf" srcId="{EBEA9F54-7364-45F9-829B-BF1EB38AEB12}" destId="{FAB4E4F9-F125-48C6-8D09-CED9C80D9184}" srcOrd="1" destOrd="0" presId="urn:microsoft.com/office/officeart/2016/7/layout/RoundedRectangleTimeline"/>
    <dgm:cxn modelId="{C830DDCD-AEA2-4CB6-8EC6-B41BAF27B5DF}" type="presParOf" srcId="{EBEA9F54-7364-45F9-829B-BF1EB38AEB12}" destId="{0352D030-C3E6-4937-85A7-3D93E8CF139A}" srcOrd="2" destOrd="0" presId="urn:microsoft.com/office/officeart/2016/7/layout/RoundedRectangleTimeline"/>
    <dgm:cxn modelId="{58E9AC87-A938-48AD-B068-2507517BC420}" type="presParOf" srcId="{0352D030-C3E6-4937-85A7-3D93E8CF139A}" destId="{C19D86B8-BFD4-44AF-8D55-0D9A10A48DEE}" srcOrd="0" destOrd="0" presId="urn:microsoft.com/office/officeart/2016/7/layout/RoundedRectangleTimeline"/>
    <dgm:cxn modelId="{5E109F13-230B-4E1F-B7A0-71DB03125A02}" type="presParOf" srcId="{0352D030-C3E6-4937-85A7-3D93E8CF139A}" destId="{F685149F-B90F-4BD4-9B54-2DEF8A8A4A6C}" srcOrd="1" destOrd="0" presId="urn:microsoft.com/office/officeart/2016/7/layout/RoundedRectangleTimeline"/>
    <dgm:cxn modelId="{12CB64DE-EBAB-4623-8129-E57596A6FA4C}" type="presParOf" srcId="{0352D030-C3E6-4937-85A7-3D93E8CF139A}" destId="{DCE1A16B-0636-427A-93E3-BFDA01FFB483}" srcOrd="2" destOrd="0" presId="urn:microsoft.com/office/officeart/2016/7/layout/RoundedRectangleTimeline"/>
    <dgm:cxn modelId="{A1AAF7F4-321B-4F12-B3E5-C4807DB610D4}" type="presParOf" srcId="{0352D030-C3E6-4937-85A7-3D93E8CF139A}" destId="{FD99470D-5920-467F-A86B-A76835223625}" srcOrd="3" destOrd="0" presId="urn:microsoft.com/office/officeart/2016/7/layout/RoundedRectangleTimeline"/>
    <dgm:cxn modelId="{142D5C40-DAF3-494A-8618-D3A5DA7E9169}" type="presParOf" srcId="{0352D030-C3E6-4937-85A7-3D93E8CF139A}" destId="{7D7028E3-E8A7-4C88-B806-4F29A297CF8E}" srcOrd="4" destOrd="0" presId="urn:microsoft.com/office/officeart/2016/7/layout/RoundedRectangleTimeline"/>
    <dgm:cxn modelId="{8179C024-AD29-4BB1-BED6-5E39D77ADD48}" type="presParOf" srcId="{EBEA9F54-7364-45F9-829B-BF1EB38AEB12}" destId="{C66E68F9-EA83-470F-AF13-44F46F1CEAF9}" srcOrd="3" destOrd="0" presId="urn:microsoft.com/office/officeart/2016/7/layout/RoundedRectangleTimeline"/>
    <dgm:cxn modelId="{AA5F7ED5-2A2D-4089-963C-B404D4DA9420}" type="presParOf" srcId="{EBEA9F54-7364-45F9-829B-BF1EB38AEB12}" destId="{F8C5B2F9-79EE-4E04-B7C0-943D65B8ED47}" srcOrd="4" destOrd="0" presId="urn:microsoft.com/office/officeart/2016/7/layout/RoundedRectangleTimeline"/>
    <dgm:cxn modelId="{92AA06F4-C179-4008-8F76-35B5F9672216}" type="presParOf" srcId="{F8C5B2F9-79EE-4E04-B7C0-943D65B8ED47}" destId="{2C9A4ABC-9A91-4F53-84B8-87032F6EABB5}" srcOrd="0" destOrd="0" presId="urn:microsoft.com/office/officeart/2016/7/layout/RoundedRectangleTimeline"/>
    <dgm:cxn modelId="{ACD09115-4FBE-45F6-94FA-188E8BEB9CC5}" type="presParOf" srcId="{F8C5B2F9-79EE-4E04-B7C0-943D65B8ED47}" destId="{32E39A59-9A6A-4FE0-A09B-A2BBABB99527}" srcOrd="1" destOrd="0" presId="urn:microsoft.com/office/officeart/2016/7/layout/RoundedRectangleTimeline"/>
    <dgm:cxn modelId="{729893D0-5FDD-4C92-8625-93FAC34A0115}" type="presParOf" srcId="{F8C5B2F9-79EE-4E04-B7C0-943D65B8ED47}" destId="{A1F95EA4-4E4A-4C87-8DEB-7FA5E4909DA9}" srcOrd="2" destOrd="0" presId="urn:microsoft.com/office/officeart/2016/7/layout/RoundedRectangleTimeline"/>
    <dgm:cxn modelId="{FEE6A737-7E2D-46A7-83C0-D698852CDAE3}" type="presParOf" srcId="{F8C5B2F9-79EE-4E04-B7C0-943D65B8ED47}" destId="{B2EDFE18-4AB4-4852-A119-30B21C8FF5D7}" srcOrd="3" destOrd="0" presId="urn:microsoft.com/office/officeart/2016/7/layout/RoundedRectangleTimeline"/>
    <dgm:cxn modelId="{D8A4FF16-9C67-4CB5-B19C-6A2D4B443F50}" type="presParOf" srcId="{F8C5B2F9-79EE-4E04-B7C0-943D65B8ED47}" destId="{59E5C787-15FB-43F0-A9D4-07102AEDF5B8}" srcOrd="4" destOrd="0" presId="urn:microsoft.com/office/officeart/2016/7/layout/RoundedRectangleTimeline"/>
    <dgm:cxn modelId="{745C14A1-60BB-4FB6-B44D-D21C33E09ABA}" type="presParOf" srcId="{EBEA9F54-7364-45F9-829B-BF1EB38AEB12}" destId="{F5584B24-8C8B-4459-BE7A-0A805D734D8C}" srcOrd="5" destOrd="0" presId="urn:microsoft.com/office/officeart/2016/7/layout/RoundedRectangleTimeline"/>
    <dgm:cxn modelId="{0B356D49-6E5B-4D1B-9DF3-8C8796EB99C0}" type="presParOf" srcId="{EBEA9F54-7364-45F9-829B-BF1EB38AEB12}" destId="{E5ACC412-2FBD-44C2-9121-B3EB973E5C66}" srcOrd="6" destOrd="0" presId="urn:microsoft.com/office/officeart/2016/7/layout/RoundedRectangleTimeline"/>
    <dgm:cxn modelId="{98BC8EED-0ABE-422F-B29A-3ED95FF46EFB}" type="presParOf" srcId="{E5ACC412-2FBD-44C2-9121-B3EB973E5C66}" destId="{DF71F57E-D542-4163-95B1-92B1B114497F}" srcOrd="0" destOrd="0" presId="urn:microsoft.com/office/officeart/2016/7/layout/RoundedRectangleTimeline"/>
    <dgm:cxn modelId="{3E6A0A2E-7FD7-4D2A-9BE8-7BD77F03C14F}" type="presParOf" srcId="{E5ACC412-2FBD-44C2-9121-B3EB973E5C66}" destId="{C0317DA2-D763-4621-9680-990E0F78E293}" srcOrd="1" destOrd="0" presId="urn:microsoft.com/office/officeart/2016/7/layout/RoundedRectangleTimeline"/>
    <dgm:cxn modelId="{0B3596E0-515C-452C-9014-28FFDCCDDC30}" type="presParOf" srcId="{E5ACC412-2FBD-44C2-9121-B3EB973E5C66}" destId="{6898D4C1-54F6-4DA4-9607-F444437C8E6E}" srcOrd="2" destOrd="0" presId="urn:microsoft.com/office/officeart/2016/7/layout/RoundedRectangleTimeline"/>
    <dgm:cxn modelId="{A9CDED32-40A9-4681-998E-34C3D4205E5A}" type="presParOf" srcId="{E5ACC412-2FBD-44C2-9121-B3EB973E5C66}" destId="{D73D486C-1D43-4208-9FD9-CC7C2550C1E8}" srcOrd="3" destOrd="0" presId="urn:microsoft.com/office/officeart/2016/7/layout/RoundedRectangleTimeline"/>
    <dgm:cxn modelId="{DD500D97-82E3-4291-AEFC-BB11144A370A}" type="presParOf" srcId="{E5ACC412-2FBD-44C2-9121-B3EB973E5C66}" destId="{4E7CBB81-AC5E-4EE7-85AC-B9C4581F507F}" srcOrd="4" destOrd="0" presId="urn:microsoft.com/office/officeart/2016/7/layout/RoundedRectangleTimeline"/>
    <dgm:cxn modelId="{98F4C3E3-20C5-4A44-BEE5-9E6A1994D4A9}" type="presParOf" srcId="{EBEA9F54-7364-45F9-829B-BF1EB38AEB12}" destId="{CDBD900D-671A-4B7A-AEE1-255109BAB918}" srcOrd="7" destOrd="0" presId="urn:microsoft.com/office/officeart/2016/7/layout/RoundedRectangleTimeline"/>
    <dgm:cxn modelId="{B025CA5F-1FC5-4810-9E53-6C58D98E9ACC}" type="presParOf" srcId="{EBEA9F54-7364-45F9-829B-BF1EB38AEB12}" destId="{0D8B1C66-2DE8-4EE4-808B-62FFD96EA016}" srcOrd="8" destOrd="0" presId="urn:microsoft.com/office/officeart/2016/7/layout/RoundedRectangleTimeline"/>
    <dgm:cxn modelId="{C4D4D116-8B69-40AF-B4BD-9E74ED858232}" type="presParOf" srcId="{0D8B1C66-2DE8-4EE4-808B-62FFD96EA016}" destId="{15806F64-7838-4DAA-A0FA-7BA3B336AE3F}" srcOrd="0" destOrd="0" presId="urn:microsoft.com/office/officeart/2016/7/layout/RoundedRectangleTimeline"/>
    <dgm:cxn modelId="{B84071D8-2C5D-4CE7-831E-73DCF4A33C53}" type="presParOf" srcId="{0D8B1C66-2DE8-4EE4-808B-62FFD96EA016}" destId="{D2BFE868-07FF-48DB-8338-8A7C6ED9998F}" srcOrd="1" destOrd="0" presId="urn:microsoft.com/office/officeart/2016/7/layout/RoundedRectangleTimeline"/>
    <dgm:cxn modelId="{9088877D-AFD0-4719-9D8E-8A28BF474643}" type="presParOf" srcId="{0D8B1C66-2DE8-4EE4-808B-62FFD96EA016}" destId="{E5A47D71-1073-410A-8751-3C252482E604}" srcOrd="2" destOrd="0" presId="urn:microsoft.com/office/officeart/2016/7/layout/RoundedRectangleTimeline"/>
    <dgm:cxn modelId="{96840542-F4AB-4CF9-88AE-CF2120D0B03E}" type="presParOf" srcId="{0D8B1C66-2DE8-4EE4-808B-62FFD96EA016}" destId="{AD11F15F-2F35-43E9-AAA4-CF4FE6D2B984}" srcOrd="3" destOrd="0" presId="urn:microsoft.com/office/officeart/2016/7/layout/RoundedRectangleTimeline"/>
    <dgm:cxn modelId="{8A35BB13-A52A-4723-8429-A3F50BED6AB8}" type="presParOf" srcId="{0D8B1C66-2DE8-4EE4-808B-62FFD96EA016}" destId="{A1DC5CF5-DF6B-411E-B4F2-20D3332D3C07}" srcOrd="4" destOrd="0" presId="urn:microsoft.com/office/officeart/2016/7/layout/RoundedRectangleTimeline"/>
    <dgm:cxn modelId="{8F81B235-F3A5-4249-AED3-52CDC99A4578}" type="presParOf" srcId="{EBEA9F54-7364-45F9-829B-BF1EB38AEB12}" destId="{48C0F29E-7C5F-4FCB-B3EE-9BA7AECF7074}" srcOrd="9" destOrd="0" presId="urn:microsoft.com/office/officeart/2016/7/layout/RoundedRectangleTimeline"/>
    <dgm:cxn modelId="{906CE25D-DEB5-4FF4-B3E7-B535A09C4800}" type="presParOf" srcId="{EBEA9F54-7364-45F9-829B-BF1EB38AEB12}" destId="{53484DED-F74E-4B4E-9E8B-3F206A29DEDD}" srcOrd="10" destOrd="0" presId="urn:microsoft.com/office/officeart/2016/7/layout/RoundedRectangleTimeline"/>
    <dgm:cxn modelId="{C121F15A-106A-4BA1-8EB3-21EE5F076F38}" type="presParOf" srcId="{53484DED-F74E-4B4E-9E8B-3F206A29DEDD}" destId="{C0D22B8F-54BF-4FAE-9F7C-B58FA74468D0}" srcOrd="0" destOrd="0" presId="urn:microsoft.com/office/officeart/2016/7/layout/RoundedRectangleTimeline"/>
    <dgm:cxn modelId="{FCB5CE0B-9A2C-4322-BFF2-92950AB09EDC}" type="presParOf" srcId="{53484DED-F74E-4B4E-9E8B-3F206A29DEDD}" destId="{E1F35975-00CA-4B74-AB7C-CD8812C99AEF}" srcOrd="1" destOrd="0" presId="urn:microsoft.com/office/officeart/2016/7/layout/RoundedRectangleTimeline"/>
    <dgm:cxn modelId="{8E1DD684-43F5-420F-BDC1-6AC747B39489}" type="presParOf" srcId="{53484DED-F74E-4B4E-9E8B-3F206A29DEDD}" destId="{152FB453-AA1C-4C6D-86AE-2A7A4BF73B8B}" srcOrd="2" destOrd="0" presId="urn:microsoft.com/office/officeart/2016/7/layout/RoundedRectangleTimeline"/>
    <dgm:cxn modelId="{1FE8405A-8A3D-49CC-8443-BD7EDEE12D2D}" type="presParOf" srcId="{53484DED-F74E-4B4E-9E8B-3F206A29DEDD}" destId="{BC9CEA29-8429-48CF-B30A-81626D4345E2}" srcOrd="3" destOrd="0" presId="urn:microsoft.com/office/officeart/2016/7/layout/RoundedRectangleTimeline"/>
    <dgm:cxn modelId="{61A8D5D7-F9FB-46B1-9FA0-B816AAA1D2DF}" type="presParOf" srcId="{53484DED-F74E-4B4E-9E8B-3F206A29DEDD}" destId="{F432CF4A-CFEA-4E45-BD59-26AD14D60A5D}"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C314B7D-4AF3-4715-8E40-DAD39DA2DCFE}"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064CC6BB-1D9B-4BF6-B6F3-EB633B7279D1}" type="asst">
      <dgm:prSet phldrT="[Text]"/>
      <dgm:spPr/>
      <dgm:t>
        <a:bodyPr/>
        <a:lstStyle/>
        <a:p>
          <a:r>
            <a:rPr lang="en-US" dirty="0"/>
            <a:t>PMU</a:t>
          </a:r>
          <a:br>
            <a:rPr lang="en-US" dirty="0"/>
          </a:br>
          <a:r>
            <a:rPr lang="en-US" dirty="0"/>
            <a:t>Quetta</a:t>
          </a:r>
        </a:p>
      </dgm:t>
    </dgm:pt>
    <dgm:pt modelId="{ABB8655B-94DE-4109-AB36-17207C93B19B}" type="parTrans" cxnId="{10654176-2154-439C-8573-8094FF3EA648}">
      <dgm:prSet/>
      <dgm:spPr/>
      <dgm:t>
        <a:bodyPr/>
        <a:lstStyle/>
        <a:p>
          <a:endParaRPr lang="en-US"/>
        </a:p>
      </dgm:t>
    </dgm:pt>
    <dgm:pt modelId="{E94609E5-CF12-4BB5-92E6-7DF9AB2CC3E1}" type="sibTrans" cxnId="{10654176-2154-439C-8573-8094FF3EA648}">
      <dgm:prSet/>
      <dgm:spPr/>
      <dgm:t>
        <a:bodyPr/>
        <a:lstStyle/>
        <a:p>
          <a:endParaRPr lang="en-US"/>
        </a:p>
      </dgm:t>
    </dgm:pt>
    <dgm:pt modelId="{7344DE1C-EF7D-4108-B379-C025732F5A36}">
      <dgm:prSet phldrT="[Text]"/>
      <dgm:spPr/>
      <dgm:t>
        <a:bodyPr/>
        <a:lstStyle/>
        <a:p>
          <a:r>
            <a:rPr lang="en-US" dirty="0"/>
            <a:t>PIU</a:t>
          </a:r>
          <a:br>
            <a:rPr lang="en-US" dirty="0"/>
          </a:br>
          <a:r>
            <a:rPr lang="en-US" dirty="0"/>
            <a:t>Gwadar</a:t>
          </a:r>
        </a:p>
      </dgm:t>
    </dgm:pt>
    <dgm:pt modelId="{959BC978-3DB1-4CB6-807E-221DE8BE7A7A}" type="parTrans" cxnId="{8EA366C8-32EC-44B3-8E1A-C58AAF9E731E}">
      <dgm:prSet/>
      <dgm:spPr/>
      <dgm:t>
        <a:bodyPr/>
        <a:lstStyle/>
        <a:p>
          <a:endParaRPr lang="en-US"/>
        </a:p>
      </dgm:t>
    </dgm:pt>
    <dgm:pt modelId="{1B57257C-74AE-4CE6-82C1-6CEBFA6FDE63}" type="sibTrans" cxnId="{8EA366C8-32EC-44B3-8E1A-C58AAF9E731E}">
      <dgm:prSet/>
      <dgm:spPr/>
      <dgm:t>
        <a:bodyPr/>
        <a:lstStyle/>
        <a:p>
          <a:endParaRPr lang="en-US"/>
        </a:p>
      </dgm:t>
    </dgm:pt>
    <dgm:pt modelId="{010D5236-2423-46A8-8221-6610AAAFE49A}">
      <dgm:prSet phldrT="[Text]"/>
      <dgm:spPr/>
      <dgm:t>
        <a:bodyPr/>
        <a:lstStyle/>
        <a:p>
          <a:r>
            <a:rPr lang="en-US" dirty="0"/>
            <a:t>PIU </a:t>
          </a:r>
          <a:br>
            <a:rPr lang="en-US" dirty="0"/>
          </a:br>
          <a:r>
            <a:rPr lang="en-US" dirty="0" err="1"/>
            <a:t>Lasbela</a:t>
          </a:r>
          <a:endParaRPr lang="en-US" dirty="0"/>
        </a:p>
      </dgm:t>
    </dgm:pt>
    <dgm:pt modelId="{D359E4B9-4C0A-455A-BB81-C2FBBAD5F6C0}" type="parTrans" cxnId="{1D8EABE1-4CAE-48A6-A506-D153DAC47FA7}">
      <dgm:prSet/>
      <dgm:spPr/>
      <dgm:t>
        <a:bodyPr/>
        <a:lstStyle/>
        <a:p>
          <a:endParaRPr lang="en-US"/>
        </a:p>
      </dgm:t>
    </dgm:pt>
    <dgm:pt modelId="{B93FB12D-DC22-446D-8131-C2476CB0B137}" type="sibTrans" cxnId="{1D8EABE1-4CAE-48A6-A506-D153DAC47FA7}">
      <dgm:prSet/>
      <dgm:spPr/>
      <dgm:t>
        <a:bodyPr/>
        <a:lstStyle/>
        <a:p>
          <a:endParaRPr lang="en-US"/>
        </a:p>
      </dgm:t>
    </dgm:pt>
    <dgm:pt modelId="{4D18D8F9-739C-4967-8625-19FC7A7D51D4}" type="pres">
      <dgm:prSet presAssocID="{5C314B7D-4AF3-4715-8E40-DAD39DA2DCFE}" presName="hierChild1" presStyleCnt="0">
        <dgm:presLayoutVars>
          <dgm:orgChart val="1"/>
          <dgm:chPref val="1"/>
          <dgm:dir/>
          <dgm:animOne val="branch"/>
          <dgm:animLvl val="lvl"/>
          <dgm:resizeHandles/>
        </dgm:presLayoutVars>
      </dgm:prSet>
      <dgm:spPr/>
    </dgm:pt>
    <dgm:pt modelId="{E7FE1C3F-CFCA-4F8B-B84F-F0B784F18059}" type="pres">
      <dgm:prSet presAssocID="{064CC6BB-1D9B-4BF6-B6F3-EB633B7279D1}" presName="hierRoot1" presStyleCnt="0">
        <dgm:presLayoutVars>
          <dgm:hierBranch val="init"/>
        </dgm:presLayoutVars>
      </dgm:prSet>
      <dgm:spPr/>
    </dgm:pt>
    <dgm:pt modelId="{9E15A22A-A435-4237-9274-6B9156FA7BE9}" type="pres">
      <dgm:prSet presAssocID="{064CC6BB-1D9B-4BF6-B6F3-EB633B7279D1}" presName="rootComposite1" presStyleCnt="0"/>
      <dgm:spPr/>
    </dgm:pt>
    <dgm:pt modelId="{8B1D86E7-35E8-4D45-9FB3-BF9438C8F8CF}" type="pres">
      <dgm:prSet presAssocID="{064CC6BB-1D9B-4BF6-B6F3-EB633B7279D1}" presName="rootText1" presStyleLbl="node0" presStyleIdx="0" presStyleCnt="1">
        <dgm:presLayoutVars>
          <dgm:chPref val="3"/>
        </dgm:presLayoutVars>
      </dgm:prSet>
      <dgm:spPr/>
    </dgm:pt>
    <dgm:pt modelId="{D184DE00-414A-4C76-996E-86EA202B6B02}" type="pres">
      <dgm:prSet presAssocID="{064CC6BB-1D9B-4BF6-B6F3-EB633B7279D1}" presName="rootConnector1" presStyleLbl="asst0" presStyleIdx="0" presStyleCnt="0"/>
      <dgm:spPr/>
    </dgm:pt>
    <dgm:pt modelId="{6F961799-3313-400A-ADB9-7693064461C1}" type="pres">
      <dgm:prSet presAssocID="{064CC6BB-1D9B-4BF6-B6F3-EB633B7279D1}" presName="hierChild2" presStyleCnt="0"/>
      <dgm:spPr/>
    </dgm:pt>
    <dgm:pt modelId="{44586655-7968-4778-8FD0-4A691FEB4125}" type="pres">
      <dgm:prSet presAssocID="{959BC978-3DB1-4CB6-807E-221DE8BE7A7A}" presName="Name64" presStyleLbl="parChTrans1D2" presStyleIdx="0" presStyleCnt="2"/>
      <dgm:spPr/>
    </dgm:pt>
    <dgm:pt modelId="{6BCE0584-6A0B-4BF0-8463-E3BAA2FE536A}" type="pres">
      <dgm:prSet presAssocID="{7344DE1C-EF7D-4108-B379-C025732F5A36}" presName="hierRoot2" presStyleCnt="0">
        <dgm:presLayoutVars>
          <dgm:hierBranch val="init"/>
        </dgm:presLayoutVars>
      </dgm:prSet>
      <dgm:spPr/>
    </dgm:pt>
    <dgm:pt modelId="{EC30279D-FA29-47CB-A645-BE45C5F62470}" type="pres">
      <dgm:prSet presAssocID="{7344DE1C-EF7D-4108-B379-C025732F5A36}" presName="rootComposite" presStyleCnt="0"/>
      <dgm:spPr/>
    </dgm:pt>
    <dgm:pt modelId="{33172C31-9F28-41A4-9CE5-24F3CE416384}" type="pres">
      <dgm:prSet presAssocID="{7344DE1C-EF7D-4108-B379-C025732F5A36}" presName="rootText" presStyleLbl="node2" presStyleIdx="0" presStyleCnt="2">
        <dgm:presLayoutVars>
          <dgm:chPref val="3"/>
        </dgm:presLayoutVars>
      </dgm:prSet>
      <dgm:spPr/>
    </dgm:pt>
    <dgm:pt modelId="{0F73DC7D-AEC4-495E-A57E-34ED5A05AEDC}" type="pres">
      <dgm:prSet presAssocID="{7344DE1C-EF7D-4108-B379-C025732F5A36}" presName="rootConnector" presStyleLbl="node2" presStyleIdx="0" presStyleCnt="2"/>
      <dgm:spPr/>
    </dgm:pt>
    <dgm:pt modelId="{260BB14B-1BDA-4731-98FE-782892EC4FA7}" type="pres">
      <dgm:prSet presAssocID="{7344DE1C-EF7D-4108-B379-C025732F5A36}" presName="hierChild4" presStyleCnt="0"/>
      <dgm:spPr/>
    </dgm:pt>
    <dgm:pt modelId="{097E7830-2927-4189-8E98-AB34D9C7342B}" type="pres">
      <dgm:prSet presAssocID="{7344DE1C-EF7D-4108-B379-C025732F5A36}" presName="hierChild5" presStyleCnt="0"/>
      <dgm:spPr/>
    </dgm:pt>
    <dgm:pt modelId="{97446A88-E6FC-4529-A2AE-885FC72949EE}" type="pres">
      <dgm:prSet presAssocID="{D359E4B9-4C0A-455A-BB81-C2FBBAD5F6C0}" presName="Name64" presStyleLbl="parChTrans1D2" presStyleIdx="1" presStyleCnt="2"/>
      <dgm:spPr/>
    </dgm:pt>
    <dgm:pt modelId="{4A84351D-8B50-4F52-86AD-CA2875FD61C7}" type="pres">
      <dgm:prSet presAssocID="{010D5236-2423-46A8-8221-6610AAAFE49A}" presName="hierRoot2" presStyleCnt="0">
        <dgm:presLayoutVars>
          <dgm:hierBranch val="init"/>
        </dgm:presLayoutVars>
      </dgm:prSet>
      <dgm:spPr/>
    </dgm:pt>
    <dgm:pt modelId="{F167768E-6E12-4BC5-8C85-0D32B4F82C01}" type="pres">
      <dgm:prSet presAssocID="{010D5236-2423-46A8-8221-6610AAAFE49A}" presName="rootComposite" presStyleCnt="0"/>
      <dgm:spPr/>
    </dgm:pt>
    <dgm:pt modelId="{879678E7-8F31-45F3-A936-E7B8F3BAA675}" type="pres">
      <dgm:prSet presAssocID="{010D5236-2423-46A8-8221-6610AAAFE49A}" presName="rootText" presStyleLbl="node2" presStyleIdx="1" presStyleCnt="2">
        <dgm:presLayoutVars>
          <dgm:chPref val="3"/>
        </dgm:presLayoutVars>
      </dgm:prSet>
      <dgm:spPr/>
    </dgm:pt>
    <dgm:pt modelId="{1FACAB20-ABD4-4F39-840F-08F53345A712}" type="pres">
      <dgm:prSet presAssocID="{010D5236-2423-46A8-8221-6610AAAFE49A}" presName="rootConnector" presStyleLbl="node2" presStyleIdx="1" presStyleCnt="2"/>
      <dgm:spPr/>
    </dgm:pt>
    <dgm:pt modelId="{46568553-86D2-45AE-968A-908D9E7F885F}" type="pres">
      <dgm:prSet presAssocID="{010D5236-2423-46A8-8221-6610AAAFE49A}" presName="hierChild4" presStyleCnt="0"/>
      <dgm:spPr/>
    </dgm:pt>
    <dgm:pt modelId="{7E281780-9CD3-4DFA-BC16-0F4EAD7D47FA}" type="pres">
      <dgm:prSet presAssocID="{010D5236-2423-46A8-8221-6610AAAFE49A}" presName="hierChild5" presStyleCnt="0"/>
      <dgm:spPr/>
    </dgm:pt>
    <dgm:pt modelId="{A55468E8-AA2E-4EC8-A445-68F0575880E7}" type="pres">
      <dgm:prSet presAssocID="{064CC6BB-1D9B-4BF6-B6F3-EB633B7279D1}" presName="hierChild3" presStyleCnt="0"/>
      <dgm:spPr/>
    </dgm:pt>
  </dgm:ptLst>
  <dgm:cxnLst>
    <dgm:cxn modelId="{AA69F225-6F16-4644-A7E2-B922ED1DAB6C}" type="presOf" srcId="{064CC6BB-1D9B-4BF6-B6F3-EB633B7279D1}" destId="{D184DE00-414A-4C76-996E-86EA202B6B02}" srcOrd="1" destOrd="0" presId="urn:microsoft.com/office/officeart/2009/3/layout/HorizontalOrganizationChart"/>
    <dgm:cxn modelId="{65D9BE2F-4849-4461-8201-CC5AC8441132}" type="presOf" srcId="{7344DE1C-EF7D-4108-B379-C025732F5A36}" destId="{0F73DC7D-AEC4-495E-A57E-34ED5A05AEDC}" srcOrd="1" destOrd="0" presId="urn:microsoft.com/office/officeart/2009/3/layout/HorizontalOrganizationChart"/>
    <dgm:cxn modelId="{10654176-2154-439C-8573-8094FF3EA648}" srcId="{5C314B7D-4AF3-4715-8E40-DAD39DA2DCFE}" destId="{064CC6BB-1D9B-4BF6-B6F3-EB633B7279D1}" srcOrd="0" destOrd="0" parTransId="{ABB8655B-94DE-4109-AB36-17207C93B19B}" sibTransId="{E94609E5-CF12-4BB5-92E6-7DF9AB2CC3E1}"/>
    <dgm:cxn modelId="{CD2AF988-0442-45E3-8D0D-0C5668640502}" type="presOf" srcId="{5C314B7D-4AF3-4715-8E40-DAD39DA2DCFE}" destId="{4D18D8F9-739C-4967-8625-19FC7A7D51D4}" srcOrd="0" destOrd="0" presId="urn:microsoft.com/office/officeart/2009/3/layout/HorizontalOrganizationChart"/>
    <dgm:cxn modelId="{E0EF9AAD-29BD-47E4-9F68-BD67C6DD3376}" type="presOf" srcId="{010D5236-2423-46A8-8221-6610AAAFE49A}" destId="{879678E7-8F31-45F3-A936-E7B8F3BAA675}" srcOrd="0" destOrd="0" presId="urn:microsoft.com/office/officeart/2009/3/layout/HorizontalOrganizationChart"/>
    <dgm:cxn modelId="{886113AF-3E43-4F7C-9C49-60CA5052A7F7}" type="presOf" srcId="{D359E4B9-4C0A-455A-BB81-C2FBBAD5F6C0}" destId="{97446A88-E6FC-4529-A2AE-885FC72949EE}" srcOrd="0" destOrd="0" presId="urn:microsoft.com/office/officeart/2009/3/layout/HorizontalOrganizationChart"/>
    <dgm:cxn modelId="{0F9760AF-AA5D-49CA-81C9-73AB5A5B15D4}" type="presOf" srcId="{959BC978-3DB1-4CB6-807E-221DE8BE7A7A}" destId="{44586655-7968-4778-8FD0-4A691FEB4125}" srcOrd="0" destOrd="0" presId="urn:microsoft.com/office/officeart/2009/3/layout/HorizontalOrganizationChart"/>
    <dgm:cxn modelId="{8EA366C8-32EC-44B3-8E1A-C58AAF9E731E}" srcId="{064CC6BB-1D9B-4BF6-B6F3-EB633B7279D1}" destId="{7344DE1C-EF7D-4108-B379-C025732F5A36}" srcOrd="0" destOrd="0" parTransId="{959BC978-3DB1-4CB6-807E-221DE8BE7A7A}" sibTransId="{1B57257C-74AE-4CE6-82C1-6CEBFA6FDE63}"/>
    <dgm:cxn modelId="{A084E9D4-7834-4062-B54D-E551636B5710}" type="presOf" srcId="{064CC6BB-1D9B-4BF6-B6F3-EB633B7279D1}" destId="{8B1D86E7-35E8-4D45-9FB3-BF9438C8F8CF}" srcOrd="0" destOrd="0" presId="urn:microsoft.com/office/officeart/2009/3/layout/HorizontalOrganizationChart"/>
    <dgm:cxn modelId="{7FE46FE0-58F4-44ED-9450-C5320E1B1D1A}" type="presOf" srcId="{7344DE1C-EF7D-4108-B379-C025732F5A36}" destId="{33172C31-9F28-41A4-9CE5-24F3CE416384}" srcOrd="0" destOrd="0" presId="urn:microsoft.com/office/officeart/2009/3/layout/HorizontalOrganizationChart"/>
    <dgm:cxn modelId="{1D8EABE1-4CAE-48A6-A506-D153DAC47FA7}" srcId="{064CC6BB-1D9B-4BF6-B6F3-EB633B7279D1}" destId="{010D5236-2423-46A8-8221-6610AAAFE49A}" srcOrd="1" destOrd="0" parTransId="{D359E4B9-4C0A-455A-BB81-C2FBBAD5F6C0}" sibTransId="{B93FB12D-DC22-446D-8131-C2476CB0B137}"/>
    <dgm:cxn modelId="{A209D1E4-EB1F-49B1-B6C0-8058824A06C8}" type="presOf" srcId="{010D5236-2423-46A8-8221-6610AAAFE49A}" destId="{1FACAB20-ABD4-4F39-840F-08F53345A712}" srcOrd="1" destOrd="0" presId="urn:microsoft.com/office/officeart/2009/3/layout/HorizontalOrganizationChart"/>
    <dgm:cxn modelId="{86E31B8B-7D93-4A04-B89F-E3A8194C4F48}" type="presParOf" srcId="{4D18D8F9-739C-4967-8625-19FC7A7D51D4}" destId="{E7FE1C3F-CFCA-4F8B-B84F-F0B784F18059}" srcOrd="0" destOrd="0" presId="urn:microsoft.com/office/officeart/2009/3/layout/HorizontalOrganizationChart"/>
    <dgm:cxn modelId="{FDF2F135-839E-4668-9340-B4B1B36B6BFF}" type="presParOf" srcId="{E7FE1C3F-CFCA-4F8B-B84F-F0B784F18059}" destId="{9E15A22A-A435-4237-9274-6B9156FA7BE9}" srcOrd="0" destOrd="0" presId="urn:microsoft.com/office/officeart/2009/3/layout/HorizontalOrganizationChart"/>
    <dgm:cxn modelId="{EF0543ED-DDA5-4EAD-84D1-753880EDA173}" type="presParOf" srcId="{9E15A22A-A435-4237-9274-6B9156FA7BE9}" destId="{8B1D86E7-35E8-4D45-9FB3-BF9438C8F8CF}" srcOrd="0" destOrd="0" presId="urn:microsoft.com/office/officeart/2009/3/layout/HorizontalOrganizationChart"/>
    <dgm:cxn modelId="{7CA9B264-C7AD-428B-B1CF-53B8496DFC80}" type="presParOf" srcId="{9E15A22A-A435-4237-9274-6B9156FA7BE9}" destId="{D184DE00-414A-4C76-996E-86EA202B6B02}" srcOrd="1" destOrd="0" presId="urn:microsoft.com/office/officeart/2009/3/layout/HorizontalOrganizationChart"/>
    <dgm:cxn modelId="{FD2A5E27-61F5-4933-9AF1-9E810C2D639C}" type="presParOf" srcId="{E7FE1C3F-CFCA-4F8B-B84F-F0B784F18059}" destId="{6F961799-3313-400A-ADB9-7693064461C1}" srcOrd="1" destOrd="0" presId="urn:microsoft.com/office/officeart/2009/3/layout/HorizontalOrganizationChart"/>
    <dgm:cxn modelId="{7FB6B4E4-A8BA-4060-8CF5-6663F8270A73}" type="presParOf" srcId="{6F961799-3313-400A-ADB9-7693064461C1}" destId="{44586655-7968-4778-8FD0-4A691FEB4125}" srcOrd="0" destOrd="0" presId="urn:microsoft.com/office/officeart/2009/3/layout/HorizontalOrganizationChart"/>
    <dgm:cxn modelId="{48A9E4DC-F9B5-4E1B-A6A1-22DAA1908898}" type="presParOf" srcId="{6F961799-3313-400A-ADB9-7693064461C1}" destId="{6BCE0584-6A0B-4BF0-8463-E3BAA2FE536A}" srcOrd="1" destOrd="0" presId="urn:microsoft.com/office/officeart/2009/3/layout/HorizontalOrganizationChart"/>
    <dgm:cxn modelId="{056565F1-DA0F-44C1-853F-09D22E7597B6}" type="presParOf" srcId="{6BCE0584-6A0B-4BF0-8463-E3BAA2FE536A}" destId="{EC30279D-FA29-47CB-A645-BE45C5F62470}" srcOrd="0" destOrd="0" presId="urn:microsoft.com/office/officeart/2009/3/layout/HorizontalOrganizationChart"/>
    <dgm:cxn modelId="{4C8AC27C-B47C-43F3-A427-B40FBEEB679A}" type="presParOf" srcId="{EC30279D-FA29-47CB-A645-BE45C5F62470}" destId="{33172C31-9F28-41A4-9CE5-24F3CE416384}" srcOrd="0" destOrd="0" presId="urn:microsoft.com/office/officeart/2009/3/layout/HorizontalOrganizationChart"/>
    <dgm:cxn modelId="{F5BA4620-D8DD-4BA7-BB54-3E3240C8E820}" type="presParOf" srcId="{EC30279D-FA29-47CB-A645-BE45C5F62470}" destId="{0F73DC7D-AEC4-495E-A57E-34ED5A05AEDC}" srcOrd="1" destOrd="0" presId="urn:microsoft.com/office/officeart/2009/3/layout/HorizontalOrganizationChart"/>
    <dgm:cxn modelId="{331B7416-77DE-4E12-A98B-8ED6BC258A60}" type="presParOf" srcId="{6BCE0584-6A0B-4BF0-8463-E3BAA2FE536A}" destId="{260BB14B-1BDA-4731-98FE-782892EC4FA7}" srcOrd="1" destOrd="0" presId="urn:microsoft.com/office/officeart/2009/3/layout/HorizontalOrganizationChart"/>
    <dgm:cxn modelId="{73090733-86E4-4700-B63F-2BF83F4C0B59}" type="presParOf" srcId="{6BCE0584-6A0B-4BF0-8463-E3BAA2FE536A}" destId="{097E7830-2927-4189-8E98-AB34D9C7342B}" srcOrd="2" destOrd="0" presId="urn:microsoft.com/office/officeart/2009/3/layout/HorizontalOrganizationChart"/>
    <dgm:cxn modelId="{25103C28-881C-4EFE-A5FA-90E4946D59BF}" type="presParOf" srcId="{6F961799-3313-400A-ADB9-7693064461C1}" destId="{97446A88-E6FC-4529-A2AE-885FC72949EE}" srcOrd="2" destOrd="0" presId="urn:microsoft.com/office/officeart/2009/3/layout/HorizontalOrganizationChart"/>
    <dgm:cxn modelId="{9ECFCD06-E5FE-44B4-A7F1-EA7A0636D8E4}" type="presParOf" srcId="{6F961799-3313-400A-ADB9-7693064461C1}" destId="{4A84351D-8B50-4F52-86AD-CA2875FD61C7}" srcOrd="3" destOrd="0" presId="urn:microsoft.com/office/officeart/2009/3/layout/HorizontalOrganizationChart"/>
    <dgm:cxn modelId="{C9930708-8E52-47BE-B8F4-101F1BE2EE88}" type="presParOf" srcId="{4A84351D-8B50-4F52-86AD-CA2875FD61C7}" destId="{F167768E-6E12-4BC5-8C85-0D32B4F82C01}" srcOrd="0" destOrd="0" presId="urn:microsoft.com/office/officeart/2009/3/layout/HorizontalOrganizationChart"/>
    <dgm:cxn modelId="{5F113611-11BF-4161-9715-C8102EDEE521}" type="presParOf" srcId="{F167768E-6E12-4BC5-8C85-0D32B4F82C01}" destId="{879678E7-8F31-45F3-A936-E7B8F3BAA675}" srcOrd="0" destOrd="0" presId="urn:microsoft.com/office/officeart/2009/3/layout/HorizontalOrganizationChart"/>
    <dgm:cxn modelId="{654C547C-DE1B-4B68-94A5-310EF0C7D158}" type="presParOf" srcId="{F167768E-6E12-4BC5-8C85-0D32B4F82C01}" destId="{1FACAB20-ABD4-4F39-840F-08F53345A712}" srcOrd="1" destOrd="0" presId="urn:microsoft.com/office/officeart/2009/3/layout/HorizontalOrganizationChart"/>
    <dgm:cxn modelId="{14A3AA22-653B-47B0-AD11-B39A8077D10A}" type="presParOf" srcId="{4A84351D-8B50-4F52-86AD-CA2875FD61C7}" destId="{46568553-86D2-45AE-968A-908D9E7F885F}" srcOrd="1" destOrd="0" presId="urn:microsoft.com/office/officeart/2009/3/layout/HorizontalOrganizationChart"/>
    <dgm:cxn modelId="{DCE1212B-DC09-4DF7-9AE4-57C40062707C}" type="presParOf" srcId="{4A84351D-8B50-4F52-86AD-CA2875FD61C7}" destId="{7E281780-9CD3-4DFA-BC16-0F4EAD7D47FA}" srcOrd="2" destOrd="0" presId="urn:microsoft.com/office/officeart/2009/3/layout/HorizontalOrganizationChart"/>
    <dgm:cxn modelId="{6D1629BC-27A0-4723-9F3D-F7FA7877D67F}" type="presParOf" srcId="{E7FE1C3F-CFCA-4F8B-B84F-F0B784F18059}" destId="{A55468E8-AA2E-4EC8-A445-68F0575880E7}"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86DFA04-31EF-49B6-AFAE-2287858E0303}" type="doc">
      <dgm:prSet loTypeId="urn:microsoft.com/office/officeart/2016/7/layout/RoundedRectangleTimeline" loCatId="process" qsTypeId="urn:microsoft.com/office/officeart/2005/8/quickstyle/simple1" qsCatId="simple" csTypeId="urn:microsoft.com/office/officeart/2005/8/colors/accent1_2" csCatId="accent1" phldr="1"/>
      <dgm:spPr/>
      <dgm:t>
        <a:bodyPr/>
        <a:lstStyle/>
        <a:p>
          <a:endParaRPr lang="en-US"/>
        </a:p>
      </dgm:t>
    </dgm:pt>
    <dgm:pt modelId="{9B50AE85-DEA1-41F3-9C2C-24A18069C473}">
      <dgm:prSet/>
      <dgm:spPr/>
      <dgm:t>
        <a:bodyPr/>
        <a:lstStyle/>
        <a:p>
          <a:r>
            <a:rPr lang="en-US" dirty="0">
              <a:solidFill>
                <a:schemeClr val="tx1"/>
              </a:solidFill>
            </a:rPr>
            <a:t>October 2019</a:t>
          </a:r>
        </a:p>
      </dgm:t>
    </dgm:pt>
    <dgm:pt modelId="{20A9B789-9B22-478C-970C-71496754809B}" type="parTrans" cxnId="{A4CE7A9B-B015-4E32-A86C-C3A08970D2FB}">
      <dgm:prSet/>
      <dgm:spPr/>
      <dgm:t>
        <a:bodyPr/>
        <a:lstStyle/>
        <a:p>
          <a:pPr algn="l"/>
          <a:endParaRPr lang="en-US"/>
        </a:p>
      </dgm:t>
    </dgm:pt>
    <dgm:pt modelId="{12A4AEA8-BC1D-4ADD-8236-A533A455F22E}" type="sibTrans" cxnId="{A4CE7A9B-B015-4E32-A86C-C3A08970D2FB}">
      <dgm:prSet/>
      <dgm:spPr/>
      <dgm:t>
        <a:bodyPr/>
        <a:lstStyle/>
        <a:p>
          <a:endParaRPr lang="en-US"/>
        </a:p>
      </dgm:t>
    </dgm:pt>
    <dgm:pt modelId="{82968BA3-DFCC-4B51-ABB1-F1F4791698B0}">
      <dgm:prSet/>
      <dgm:spPr/>
      <dgm:t>
        <a:bodyPr/>
        <a:lstStyle/>
        <a:p>
          <a:r>
            <a:rPr lang="en-US" dirty="0"/>
            <a:t>PC-1</a:t>
          </a:r>
        </a:p>
      </dgm:t>
    </dgm:pt>
    <dgm:pt modelId="{B474C1A9-9141-4567-8AA6-A8446206794E}" type="parTrans" cxnId="{E50EA410-61F4-443F-B045-5AC0708EA191}">
      <dgm:prSet/>
      <dgm:spPr/>
      <dgm:t>
        <a:bodyPr/>
        <a:lstStyle/>
        <a:p>
          <a:pPr algn="l"/>
          <a:endParaRPr lang="en-US"/>
        </a:p>
      </dgm:t>
    </dgm:pt>
    <dgm:pt modelId="{8BC987EC-BEB5-4480-B241-99E630336DA8}" type="sibTrans" cxnId="{E50EA410-61F4-443F-B045-5AC0708EA191}">
      <dgm:prSet/>
      <dgm:spPr/>
      <dgm:t>
        <a:bodyPr/>
        <a:lstStyle/>
        <a:p>
          <a:endParaRPr lang="en-US"/>
        </a:p>
      </dgm:t>
    </dgm:pt>
    <dgm:pt modelId="{B157653D-2397-47E3-94A8-8E8B13726408}">
      <dgm:prSet/>
      <dgm:spPr/>
      <dgm:t>
        <a:bodyPr/>
        <a:lstStyle/>
        <a:p>
          <a:r>
            <a:rPr lang="en-US" dirty="0">
              <a:solidFill>
                <a:schemeClr val="tx1"/>
              </a:solidFill>
            </a:rPr>
            <a:t>November 21, 2019</a:t>
          </a:r>
        </a:p>
      </dgm:t>
    </dgm:pt>
    <dgm:pt modelId="{7C340691-872A-42EE-977C-5B833001E6A0}" type="parTrans" cxnId="{950692EB-01A7-4BA3-A03C-6D1E2A5F26EE}">
      <dgm:prSet/>
      <dgm:spPr/>
      <dgm:t>
        <a:bodyPr/>
        <a:lstStyle/>
        <a:p>
          <a:pPr algn="l"/>
          <a:endParaRPr lang="en-US"/>
        </a:p>
      </dgm:t>
    </dgm:pt>
    <dgm:pt modelId="{C11CD3A4-ED92-4609-A589-8DA6272582F8}" type="sibTrans" cxnId="{950692EB-01A7-4BA3-A03C-6D1E2A5F26EE}">
      <dgm:prSet/>
      <dgm:spPr/>
      <dgm:t>
        <a:bodyPr/>
        <a:lstStyle/>
        <a:p>
          <a:endParaRPr lang="en-US"/>
        </a:p>
      </dgm:t>
    </dgm:pt>
    <dgm:pt modelId="{CFC6C321-565B-4736-9600-0849B35804F7}">
      <dgm:prSet/>
      <dgm:spPr/>
      <dgm:t>
        <a:bodyPr/>
        <a:lstStyle/>
        <a:p>
          <a:r>
            <a:rPr lang="en-US" dirty="0"/>
            <a:t>PDWP (Provincial Development Working Party) approved</a:t>
          </a:r>
        </a:p>
      </dgm:t>
    </dgm:pt>
    <dgm:pt modelId="{E16317D1-6F50-4823-97B7-A2996F0FE94D}" type="parTrans" cxnId="{1CBB0F56-2A16-469E-B30F-2E05729C9C4B}">
      <dgm:prSet/>
      <dgm:spPr/>
      <dgm:t>
        <a:bodyPr/>
        <a:lstStyle/>
        <a:p>
          <a:pPr algn="l"/>
          <a:endParaRPr lang="en-US"/>
        </a:p>
      </dgm:t>
    </dgm:pt>
    <dgm:pt modelId="{E552DB50-1B67-4762-89F9-7D3490111E2B}" type="sibTrans" cxnId="{1CBB0F56-2A16-469E-B30F-2E05729C9C4B}">
      <dgm:prSet/>
      <dgm:spPr/>
      <dgm:t>
        <a:bodyPr/>
        <a:lstStyle/>
        <a:p>
          <a:endParaRPr lang="en-US"/>
        </a:p>
      </dgm:t>
    </dgm:pt>
    <dgm:pt modelId="{501DC69F-43F9-4B1E-BE22-6D9FA0AFC528}">
      <dgm:prSet/>
      <dgm:spPr/>
      <dgm:t>
        <a:bodyPr/>
        <a:lstStyle/>
        <a:p>
          <a:r>
            <a:rPr lang="en-US" dirty="0">
              <a:solidFill>
                <a:schemeClr val="tx1"/>
              </a:solidFill>
            </a:rPr>
            <a:t>December, 2020</a:t>
          </a:r>
        </a:p>
      </dgm:t>
    </dgm:pt>
    <dgm:pt modelId="{D662275D-EF71-4EF0-8C53-5B09830A2AA4}" type="parTrans" cxnId="{A1DD0BFE-1A98-40AA-BB60-9659ADA72CA3}">
      <dgm:prSet/>
      <dgm:spPr/>
      <dgm:t>
        <a:bodyPr/>
        <a:lstStyle/>
        <a:p>
          <a:pPr algn="l"/>
          <a:endParaRPr lang="en-US"/>
        </a:p>
      </dgm:t>
    </dgm:pt>
    <dgm:pt modelId="{05A1C2F3-0854-4F17-AD49-F6E4F5029DC1}" type="sibTrans" cxnId="{A1DD0BFE-1A98-40AA-BB60-9659ADA72CA3}">
      <dgm:prSet/>
      <dgm:spPr/>
      <dgm:t>
        <a:bodyPr/>
        <a:lstStyle/>
        <a:p>
          <a:endParaRPr lang="en-US"/>
        </a:p>
      </dgm:t>
    </dgm:pt>
    <dgm:pt modelId="{D8FCE50B-8057-456A-B2A9-965F28038B25}">
      <dgm:prSet/>
      <dgm:spPr/>
      <dgm:t>
        <a:bodyPr/>
        <a:lstStyle/>
        <a:p>
          <a:r>
            <a:rPr lang="en-US" dirty="0">
              <a:solidFill>
                <a:schemeClr val="tx1"/>
              </a:solidFill>
            </a:rPr>
            <a:t>February 15, 2021</a:t>
          </a:r>
        </a:p>
      </dgm:t>
    </dgm:pt>
    <dgm:pt modelId="{D5DFEBC1-CD5A-4769-8915-305975D67145}" type="parTrans" cxnId="{D3D5DDFE-3C40-4FB4-A2D6-AF320BE8808D}">
      <dgm:prSet/>
      <dgm:spPr/>
      <dgm:t>
        <a:bodyPr/>
        <a:lstStyle/>
        <a:p>
          <a:pPr algn="l"/>
          <a:endParaRPr lang="en-US"/>
        </a:p>
      </dgm:t>
    </dgm:pt>
    <dgm:pt modelId="{338B3E43-3652-4902-AE82-69646DE76CA7}" type="sibTrans" cxnId="{D3D5DDFE-3C40-4FB4-A2D6-AF320BE8808D}">
      <dgm:prSet/>
      <dgm:spPr/>
      <dgm:t>
        <a:bodyPr/>
        <a:lstStyle/>
        <a:p>
          <a:endParaRPr lang="en-US"/>
        </a:p>
      </dgm:t>
    </dgm:pt>
    <dgm:pt modelId="{6B7869AD-54CD-443E-9269-95A6919010E7}">
      <dgm:prSet/>
      <dgm:spPr/>
      <dgm:t>
        <a:bodyPr/>
        <a:lstStyle/>
        <a:p>
          <a:r>
            <a:rPr lang="en-US" dirty="0">
              <a:solidFill>
                <a:schemeClr val="tx1"/>
              </a:solidFill>
            </a:rPr>
            <a:t>December 5, 2019</a:t>
          </a:r>
        </a:p>
      </dgm:t>
    </dgm:pt>
    <dgm:pt modelId="{10BFAE19-F378-4635-9658-F970608DD644}" type="parTrans" cxnId="{FD7BE0D2-1C92-4C32-86CA-B1D0C6914773}">
      <dgm:prSet/>
      <dgm:spPr/>
      <dgm:t>
        <a:bodyPr/>
        <a:lstStyle/>
        <a:p>
          <a:endParaRPr lang="en-US"/>
        </a:p>
      </dgm:t>
    </dgm:pt>
    <dgm:pt modelId="{8910EF4A-60A7-4962-B3C4-BCBEBE91F592}" type="sibTrans" cxnId="{FD7BE0D2-1C92-4C32-86CA-B1D0C6914773}">
      <dgm:prSet/>
      <dgm:spPr/>
      <dgm:t>
        <a:bodyPr/>
        <a:lstStyle/>
        <a:p>
          <a:endParaRPr lang="en-US"/>
        </a:p>
      </dgm:t>
    </dgm:pt>
    <dgm:pt modelId="{FE2BFC9E-28A7-4E83-91F6-BF69B631EFC2}">
      <dgm:prSet/>
      <dgm:spPr/>
      <dgm:t>
        <a:bodyPr/>
        <a:lstStyle/>
        <a:p>
          <a:r>
            <a:rPr lang="en-US" dirty="0">
              <a:solidFill>
                <a:schemeClr val="tx1"/>
              </a:solidFill>
            </a:rPr>
            <a:t>January 1, 2020</a:t>
          </a:r>
        </a:p>
      </dgm:t>
    </dgm:pt>
    <dgm:pt modelId="{F9E26661-CEEE-442F-8382-969C50B7853A}" type="parTrans" cxnId="{982A859C-621C-496A-B5B1-809BF0EAD0BA}">
      <dgm:prSet/>
      <dgm:spPr/>
      <dgm:t>
        <a:bodyPr/>
        <a:lstStyle/>
        <a:p>
          <a:endParaRPr lang="en-US"/>
        </a:p>
      </dgm:t>
    </dgm:pt>
    <dgm:pt modelId="{026D27EE-1A43-43D1-A6A3-FAD15379FE0D}" type="sibTrans" cxnId="{982A859C-621C-496A-B5B1-809BF0EAD0BA}">
      <dgm:prSet/>
      <dgm:spPr/>
      <dgm:t>
        <a:bodyPr/>
        <a:lstStyle/>
        <a:p>
          <a:endParaRPr lang="en-US"/>
        </a:p>
      </dgm:t>
    </dgm:pt>
    <dgm:pt modelId="{3180D3BD-BB02-4168-A902-75926E95388B}">
      <dgm:prSet/>
      <dgm:spPr/>
      <dgm:t>
        <a:bodyPr/>
        <a:lstStyle/>
        <a:p>
          <a:r>
            <a:rPr lang="en-US" dirty="0"/>
            <a:t>Provincial Cabinet approved</a:t>
          </a:r>
        </a:p>
      </dgm:t>
    </dgm:pt>
    <dgm:pt modelId="{2EFAE699-FD95-4081-B19C-734A9E8BFAFC}" type="parTrans" cxnId="{110F2ED0-19D7-41D2-B9AC-7040A0ACE34F}">
      <dgm:prSet/>
      <dgm:spPr/>
      <dgm:t>
        <a:bodyPr/>
        <a:lstStyle/>
        <a:p>
          <a:endParaRPr lang="en-US"/>
        </a:p>
      </dgm:t>
    </dgm:pt>
    <dgm:pt modelId="{76E32D02-E289-4905-A451-A1A2B73A920D}" type="sibTrans" cxnId="{110F2ED0-19D7-41D2-B9AC-7040A0ACE34F}">
      <dgm:prSet/>
      <dgm:spPr/>
      <dgm:t>
        <a:bodyPr/>
        <a:lstStyle/>
        <a:p>
          <a:endParaRPr lang="en-US"/>
        </a:p>
      </dgm:t>
    </dgm:pt>
    <dgm:pt modelId="{C3BCB541-EE96-4138-9EC3-33BA427A5638}">
      <dgm:prSet/>
      <dgm:spPr/>
      <dgm:t>
        <a:bodyPr/>
        <a:lstStyle/>
        <a:p>
          <a:r>
            <a:rPr lang="en-US" dirty="0"/>
            <a:t>CDWP</a:t>
          </a:r>
          <a:br>
            <a:rPr lang="en-US" dirty="0"/>
          </a:br>
          <a:r>
            <a:rPr lang="en-US" dirty="0"/>
            <a:t>Conditional Approval</a:t>
          </a:r>
        </a:p>
      </dgm:t>
    </dgm:pt>
    <dgm:pt modelId="{CB2F70A8-58A3-4285-B91D-08D3499D065F}" type="parTrans" cxnId="{3A683BF3-4928-42AF-A50D-CB3728E064F6}">
      <dgm:prSet/>
      <dgm:spPr/>
      <dgm:t>
        <a:bodyPr/>
        <a:lstStyle/>
        <a:p>
          <a:endParaRPr lang="en-US"/>
        </a:p>
      </dgm:t>
    </dgm:pt>
    <dgm:pt modelId="{D25DA96F-B080-4125-88D9-423935EA6123}" type="sibTrans" cxnId="{3A683BF3-4928-42AF-A50D-CB3728E064F6}">
      <dgm:prSet/>
      <dgm:spPr/>
      <dgm:t>
        <a:bodyPr/>
        <a:lstStyle/>
        <a:p>
          <a:endParaRPr lang="en-US"/>
        </a:p>
      </dgm:t>
    </dgm:pt>
    <dgm:pt modelId="{DB8E56EC-31DA-452B-B3AB-E444B9C926B2}">
      <dgm:prSet/>
      <dgm:spPr/>
      <dgm:t>
        <a:bodyPr/>
        <a:lstStyle/>
        <a:p>
          <a:r>
            <a:rPr lang="en-US" dirty="0"/>
            <a:t>Revised PC-1</a:t>
          </a:r>
        </a:p>
      </dgm:t>
    </dgm:pt>
    <dgm:pt modelId="{510A8558-D02B-485D-9C0C-F74C901E1840}" type="parTrans" cxnId="{BFCD0633-6B19-48A4-84DD-A3EB38EE53C7}">
      <dgm:prSet/>
      <dgm:spPr/>
      <dgm:t>
        <a:bodyPr/>
        <a:lstStyle/>
        <a:p>
          <a:endParaRPr lang="en-US"/>
        </a:p>
      </dgm:t>
    </dgm:pt>
    <dgm:pt modelId="{CA572843-A5C5-48B0-88E9-7285A311EC39}" type="sibTrans" cxnId="{BFCD0633-6B19-48A4-84DD-A3EB38EE53C7}">
      <dgm:prSet/>
      <dgm:spPr/>
      <dgm:t>
        <a:bodyPr/>
        <a:lstStyle/>
        <a:p>
          <a:endParaRPr lang="en-US"/>
        </a:p>
      </dgm:t>
    </dgm:pt>
    <dgm:pt modelId="{7204F8F5-AE18-4381-B325-4BC1DC9E0188}">
      <dgm:prSet/>
      <dgm:spPr/>
      <dgm:t>
        <a:bodyPr/>
        <a:lstStyle/>
        <a:p>
          <a:r>
            <a:rPr lang="en-US" dirty="0">
              <a:solidFill>
                <a:schemeClr val="tx1"/>
              </a:solidFill>
            </a:rPr>
            <a:t>December 18, 2020</a:t>
          </a:r>
        </a:p>
      </dgm:t>
    </dgm:pt>
    <dgm:pt modelId="{B060C00C-79D4-4C1D-B86F-2C33A494DC4C}" type="parTrans" cxnId="{EBAC617A-8B63-44C6-817B-238A3F56C237}">
      <dgm:prSet/>
      <dgm:spPr/>
      <dgm:t>
        <a:bodyPr/>
        <a:lstStyle/>
        <a:p>
          <a:endParaRPr lang="en-US"/>
        </a:p>
      </dgm:t>
    </dgm:pt>
    <dgm:pt modelId="{6187C5A8-7261-419F-848E-A04D6CDCC1BD}" type="sibTrans" cxnId="{EBAC617A-8B63-44C6-817B-238A3F56C237}">
      <dgm:prSet/>
      <dgm:spPr/>
      <dgm:t>
        <a:bodyPr/>
        <a:lstStyle/>
        <a:p>
          <a:endParaRPr lang="en-US"/>
        </a:p>
      </dgm:t>
    </dgm:pt>
    <dgm:pt modelId="{EB669B84-D831-472E-8265-7F6B80F86771}">
      <dgm:prSet/>
      <dgm:spPr/>
      <dgm:t>
        <a:bodyPr/>
        <a:lstStyle/>
        <a:p>
          <a:r>
            <a:rPr lang="en-US" dirty="0">
              <a:solidFill>
                <a:schemeClr val="tx1"/>
              </a:solidFill>
            </a:rPr>
            <a:t>July 5 -21, 2019</a:t>
          </a:r>
        </a:p>
      </dgm:t>
    </dgm:pt>
    <dgm:pt modelId="{3A1AD888-7B9D-4FA2-9DBD-890600BE47AE}" type="parTrans" cxnId="{993CDB9E-B8D2-41CF-8B58-6E417CA03C7C}">
      <dgm:prSet/>
      <dgm:spPr/>
      <dgm:t>
        <a:bodyPr/>
        <a:lstStyle/>
        <a:p>
          <a:endParaRPr lang="en-US"/>
        </a:p>
      </dgm:t>
    </dgm:pt>
    <dgm:pt modelId="{ED806E8B-4FE0-424B-B797-EC7AE4582E63}" type="sibTrans" cxnId="{993CDB9E-B8D2-41CF-8B58-6E417CA03C7C}">
      <dgm:prSet/>
      <dgm:spPr/>
      <dgm:t>
        <a:bodyPr/>
        <a:lstStyle/>
        <a:p>
          <a:endParaRPr lang="en-US"/>
        </a:p>
      </dgm:t>
    </dgm:pt>
    <dgm:pt modelId="{0EAF9DB4-80D6-4968-8882-3B4E6FDB3358}">
      <dgm:prSet/>
      <dgm:spPr/>
      <dgm:t>
        <a:bodyPr/>
        <a:lstStyle/>
        <a:p>
          <a:r>
            <a:rPr lang="en-US" dirty="0"/>
            <a:t>GLLSP – II</a:t>
          </a:r>
        </a:p>
      </dgm:t>
    </dgm:pt>
    <dgm:pt modelId="{4D566221-3A20-4E01-8B43-6B03A97A4B32}" type="parTrans" cxnId="{F66D5C52-40F8-445D-889A-E98E645997DC}">
      <dgm:prSet/>
      <dgm:spPr/>
      <dgm:t>
        <a:bodyPr/>
        <a:lstStyle/>
        <a:p>
          <a:endParaRPr lang="en-US"/>
        </a:p>
      </dgm:t>
    </dgm:pt>
    <dgm:pt modelId="{982A3015-BCD0-486F-994D-D0CDE0B3EE79}" type="sibTrans" cxnId="{F66D5C52-40F8-445D-889A-E98E645997DC}">
      <dgm:prSet/>
      <dgm:spPr/>
      <dgm:t>
        <a:bodyPr/>
        <a:lstStyle/>
        <a:p>
          <a:endParaRPr lang="en-US"/>
        </a:p>
      </dgm:t>
    </dgm:pt>
    <dgm:pt modelId="{2DAF204C-62BE-4275-90C2-E2BE04ACB40B}">
      <dgm:prSet/>
      <dgm:spPr/>
      <dgm:t>
        <a:bodyPr/>
        <a:lstStyle/>
        <a:p>
          <a:r>
            <a:rPr lang="en-US" dirty="0"/>
            <a:t>PDWP (Provincial Development Working Party) approved</a:t>
          </a:r>
        </a:p>
      </dgm:t>
    </dgm:pt>
    <dgm:pt modelId="{2CD033F6-E519-4A4F-A373-50C274EEFD0D}" type="parTrans" cxnId="{539827BA-2501-46AE-9D60-86E2354657B0}">
      <dgm:prSet/>
      <dgm:spPr/>
      <dgm:t>
        <a:bodyPr/>
        <a:lstStyle/>
        <a:p>
          <a:endParaRPr lang="en-US"/>
        </a:p>
      </dgm:t>
    </dgm:pt>
    <dgm:pt modelId="{6097F5D4-445D-426B-AE34-156B15A15DF8}" type="sibTrans" cxnId="{539827BA-2501-46AE-9D60-86E2354657B0}">
      <dgm:prSet/>
      <dgm:spPr/>
      <dgm:t>
        <a:bodyPr/>
        <a:lstStyle/>
        <a:p>
          <a:endParaRPr lang="en-US"/>
        </a:p>
      </dgm:t>
    </dgm:pt>
    <dgm:pt modelId="{5511D698-E569-4B43-AC33-85C74561D308}">
      <dgm:prSet/>
      <dgm:spPr/>
      <dgm:t>
        <a:bodyPr/>
        <a:lstStyle/>
        <a:p>
          <a:r>
            <a:rPr lang="en-US" dirty="0"/>
            <a:t>CDWP</a:t>
          </a:r>
          <a:br>
            <a:rPr lang="en-US" dirty="0"/>
          </a:br>
          <a:r>
            <a:rPr lang="en-US" dirty="0"/>
            <a:t>Approved</a:t>
          </a:r>
        </a:p>
      </dgm:t>
    </dgm:pt>
    <dgm:pt modelId="{1B03E5BB-1E39-4965-A8FB-84C1B0269AA1}" type="parTrans" cxnId="{7031BA94-3965-4B22-9C34-B8198008A46E}">
      <dgm:prSet/>
      <dgm:spPr/>
      <dgm:t>
        <a:bodyPr/>
        <a:lstStyle/>
        <a:p>
          <a:endParaRPr lang="en-US"/>
        </a:p>
      </dgm:t>
    </dgm:pt>
    <dgm:pt modelId="{92A27EF9-F82D-4D1D-AE38-C56F36DBA320}" type="sibTrans" cxnId="{7031BA94-3965-4B22-9C34-B8198008A46E}">
      <dgm:prSet/>
      <dgm:spPr/>
      <dgm:t>
        <a:bodyPr/>
        <a:lstStyle/>
        <a:p>
          <a:endParaRPr lang="en-US"/>
        </a:p>
      </dgm:t>
    </dgm:pt>
    <dgm:pt modelId="{B796DF0F-C0A1-460D-8148-4EF47476B8E1}">
      <dgm:prSet/>
      <dgm:spPr/>
      <dgm:t>
        <a:bodyPr/>
        <a:lstStyle/>
        <a:p>
          <a:r>
            <a:rPr lang="en-US" dirty="0">
              <a:solidFill>
                <a:schemeClr val="tx1"/>
              </a:solidFill>
            </a:rPr>
            <a:t>March 11, 2021</a:t>
          </a:r>
        </a:p>
      </dgm:t>
    </dgm:pt>
    <dgm:pt modelId="{1221773B-FB49-4002-8E74-700F74FDAA2E}" type="parTrans" cxnId="{547495DD-5937-47F7-B951-3099C0EE993C}">
      <dgm:prSet/>
      <dgm:spPr/>
      <dgm:t>
        <a:bodyPr/>
        <a:lstStyle/>
        <a:p>
          <a:endParaRPr lang="en-US"/>
        </a:p>
      </dgm:t>
    </dgm:pt>
    <dgm:pt modelId="{129CFC53-CF53-4B94-9D16-D33B50A0116D}" type="sibTrans" cxnId="{547495DD-5937-47F7-B951-3099C0EE993C}">
      <dgm:prSet/>
      <dgm:spPr/>
      <dgm:t>
        <a:bodyPr/>
        <a:lstStyle/>
        <a:p>
          <a:endParaRPr lang="en-US"/>
        </a:p>
      </dgm:t>
    </dgm:pt>
    <dgm:pt modelId="{EC4193C5-90F7-4B5E-B459-F222F1141A8B}">
      <dgm:prSet/>
      <dgm:spPr/>
      <dgm:t>
        <a:bodyPr/>
        <a:lstStyle/>
        <a:p>
          <a:r>
            <a:rPr lang="en-US" dirty="0"/>
            <a:t>Financial Agreement</a:t>
          </a:r>
        </a:p>
      </dgm:t>
    </dgm:pt>
    <dgm:pt modelId="{2891D3E8-3FC5-4A66-8BCF-0B45BCCA3E6E}" type="parTrans" cxnId="{986845BD-6141-4EFF-AB34-2460068237ED}">
      <dgm:prSet/>
      <dgm:spPr/>
      <dgm:t>
        <a:bodyPr/>
        <a:lstStyle/>
        <a:p>
          <a:endParaRPr lang="en-US"/>
        </a:p>
      </dgm:t>
    </dgm:pt>
    <dgm:pt modelId="{07EB5D72-EABD-4321-AA32-DC14AC2F576F}" type="sibTrans" cxnId="{986845BD-6141-4EFF-AB34-2460068237ED}">
      <dgm:prSet/>
      <dgm:spPr/>
      <dgm:t>
        <a:bodyPr/>
        <a:lstStyle/>
        <a:p>
          <a:endParaRPr lang="en-US"/>
        </a:p>
      </dgm:t>
    </dgm:pt>
    <dgm:pt modelId="{D5856258-F280-4E16-A28B-15CF6E1AFEB7}">
      <dgm:prSet/>
      <dgm:spPr/>
      <dgm:t>
        <a:bodyPr/>
        <a:lstStyle/>
        <a:p>
          <a:r>
            <a:rPr lang="en-US" dirty="0"/>
            <a:t>Project Design</a:t>
          </a:r>
        </a:p>
      </dgm:t>
    </dgm:pt>
    <dgm:pt modelId="{1EEE901F-8E72-4352-8972-7A46D498C66C}" type="parTrans" cxnId="{EC587711-ACD4-4F51-8C68-75F74122D646}">
      <dgm:prSet/>
      <dgm:spPr/>
      <dgm:t>
        <a:bodyPr/>
        <a:lstStyle/>
        <a:p>
          <a:endParaRPr lang="en-US"/>
        </a:p>
      </dgm:t>
    </dgm:pt>
    <dgm:pt modelId="{17B22DC4-5E95-4DC5-8561-3B2811A880BA}" type="sibTrans" cxnId="{EC587711-ACD4-4F51-8C68-75F74122D646}">
      <dgm:prSet/>
      <dgm:spPr/>
      <dgm:t>
        <a:bodyPr/>
        <a:lstStyle/>
        <a:p>
          <a:endParaRPr lang="en-US"/>
        </a:p>
      </dgm:t>
    </dgm:pt>
    <dgm:pt modelId="{790F952A-B031-4F94-B816-663437DAF0FC}">
      <dgm:prSet/>
      <dgm:spPr/>
      <dgm:t>
        <a:bodyPr/>
        <a:lstStyle/>
        <a:p>
          <a:r>
            <a:rPr lang="en-US" dirty="0">
              <a:solidFill>
                <a:schemeClr val="tx1"/>
              </a:solidFill>
            </a:rPr>
            <a:t>April 21, 2021</a:t>
          </a:r>
        </a:p>
      </dgm:t>
    </dgm:pt>
    <dgm:pt modelId="{1480AA26-873B-421D-8D40-BD32C49F9990}" type="parTrans" cxnId="{9A941A94-CB23-49A0-BE89-AB7F9F0714FD}">
      <dgm:prSet/>
      <dgm:spPr/>
      <dgm:t>
        <a:bodyPr/>
        <a:lstStyle/>
        <a:p>
          <a:endParaRPr lang="en-US"/>
        </a:p>
      </dgm:t>
    </dgm:pt>
    <dgm:pt modelId="{52618CA3-9F71-48A9-9A9D-3405228F7A50}" type="sibTrans" cxnId="{9A941A94-CB23-49A0-BE89-AB7F9F0714FD}">
      <dgm:prSet/>
      <dgm:spPr/>
      <dgm:t>
        <a:bodyPr/>
        <a:lstStyle/>
        <a:p>
          <a:endParaRPr lang="en-US"/>
        </a:p>
      </dgm:t>
    </dgm:pt>
    <dgm:pt modelId="{4B9AA3B3-3278-480D-B258-2253239B0310}">
      <dgm:prSet/>
      <dgm:spPr/>
      <dgm:t>
        <a:bodyPr/>
        <a:lstStyle/>
        <a:p>
          <a:r>
            <a:rPr lang="en-US" dirty="0">
              <a:solidFill>
                <a:schemeClr val="tx1"/>
              </a:solidFill>
            </a:rPr>
            <a:t>Executive Committee of the National Economic Council (ECNEC)</a:t>
          </a:r>
        </a:p>
      </dgm:t>
    </dgm:pt>
    <dgm:pt modelId="{51E0859B-2B47-48C5-AFA5-813B89C3B27D}" type="parTrans" cxnId="{DF261EDC-47BD-4439-9413-8C75A0422880}">
      <dgm:prSet/>
      <dgm:spPr/>
      <dgm:t>
        <a:bodyPr/>
        <a:lstStyle/>
        <a:p>
          <a:endParaRPr lang="en-US"/>
        </a:p>
      </dgm:t>
    </dgm:pt>
    <dgm:pt modelId="{307131C0-C86E-4498-94C7-726566E3C37E}" type="sibTrans" cxnId="{DF261EDC-47BD-4439-9413-8C75A0422880}">
      <dgm:prSet/>
      <dgm:spPr/>
      <dgm:t>
        <a:bodyPr/>
        <a:lstStyle/>
        <a:p>
          <a:endParaRPr lang="en-US"/>
        </a:p>
      </dgm:t>
    </dgm:pt>
    <dgm:pt modelId="{C6E2AF98-3D29-4F20-90C1-F2616A2BA391}">
      <dgm:prSet/>
      <dgm:spPr/>
      <dgm:t>
        <a:bodyPr/>
        <a:lstStyle/>
        <a:p>
          <a:r>
            <a:rPr lang="en-US" dirty="0">
              <a:solidFill>
                <a:schemeClr val="tx1"/>
              </a:solidFill>
            </a:rPr>
            <a:t>September 3, 2021</a:t>
          </a:r>
        </a:p>
      </dgm:t>
    </dgm:pt>
    <dgm:pt modelId="{7AD75A5D-3996-4FD9-BA24-A631E9BE127C}" type="parTrans" cxnId="{9A519C9B-CAC4-47C1-8472-1A69AC623D14}">
      <dgm:prSet/>
      <dgm:spPr/>
      <dgm:t>
        <a:bodyPr/>
        <a:lstStyle/>
        <a:p>
          <a:endParaRPr lang="en-US"/>
        </a:p>
      </dgm:t>
    </dgm:pt>
    <dgm:pt modelId="{03237CE1-77D0-455D-A056-459A81F9D14A}" type="sibTrans" cxnId="{9A519C9B-CAC4-47C1-8472-1A69AC623D14}">
      <dgm:prSet/>
      <dgm:spPr/>
      <dgm:t>
        <a:bodyPr/>
        <a:lstStyle/>
        <a:p>
          <a:endParaRPr lang="en-US"/>
        </a:p>
      </dgm:t>
    </dgm:pt>
    <dgm:pt modelId="{1DC39BEA-60F0-4132-AC99-BEEA304523BF}">
      <dgm:prSet/>
      <dgm:spPr/>
      <dgm:t>
        <a:bodyPr/>
        <a:lstStyle/>
        <a:p>
          <a:r>
            <a:rPr lang="en-US" dirty="0">
              <a:solidFill>
                <a:schemeClr val="tx1"/>
              </a:solidFill>
            </a:rPr>
            <a:t>September 23, 2021</a:t>
          </a:r>
        </a:p>
      </dgm:t>
    </dgm:pt>
    <dgm:pt modelId="{9AD10D30-E661-4F80-ABC8-BDC53D55F705}" type="parTrans" cxnId="{24EFCD37-130F-4893-B5D1-0AAF8D6463C5}">
      <dgm:prSet/>
      <dgm:spPr/>
      <dgm:t>
        <a:bodyPr/>
        <a:lstStyle/>
        <a:p>
          <a:endParaRPr lang="en-US"/>
        </a:p>
      </dgm:t>
    </dgm:pt>
    <dgm:pt modelId="{46DA01C3-558D-4574-BFBD-F1B7967D52E6}" type="sibTrans" cxnId="{24EFCD37-130F-4893-B5D1-0AAF8D6463C5}">
      <dgm:prSet/>
      <dgm:spPr/>
      <dgm:t>
        <a:bodyPr/>
        <a:lstStyle/>
        <a:p>
          <a:endParaRPr lang="en-US"/>
        </a:p>
      </dgm:t>
    </dgm:pt>
    <dgm:pt modelId="{4B211E86-8549-4668-9287-33F3BF494892}">
      <dgm:prSet/>
      <dgm:spPr/>
      <dgm:t>
        <a:bodyPr/>
        <a:lstStyle/>
        <a:p>
          <a:r>
            <a:rPr lang="en-US" dirty="0">
              <a:solidFill>
                <a:schemeClr val="tx1"/>
              </a:solidFill>
            </a:rPr>
            <a:t>Project Account Opened</a:t>
          </a:r>
        </a:p>
      </dgm:t>
    </dgm:pt>
    <dgm:pt modelId="{4326D417-D206-44B8-B33B-3CD880717CC5}" type="parTrans" cxnId="{742B2F25-3AED-4954-BD4F-1FDF79DDCA21}">
      <dgm:prSet/>
      <dgm:spPr/>
      <dgm:t>
        <a:bodyPr/>
        <a:lstStyle/>
        <a:p>
          <a:endParaRPr lang="en-US"/>
        </a:p>
      </dgm:t>
    </dgm:pt>
    <dgm:pt modelId="{F074AA35-F351-445D-B33E-E7F96E48F06D}" type="sibTrans" cxnId="{742B2F25-3AED-4954-BD4F-1FDF79DDCA21}">
      <dgm:prSet/>
      <dgm:spPr/>
      <dgm:t>
        <a:bodyPr/>
        <a:lstStyle/>
        <a:p>
          <a:endParaRPr lang="en-US"/>
        </a:p>
      </dgm:t>
    </dgm:pt>
    <dgm:pt modelId="{4ABF6AF7-0864-4B5C-A8F5-F8C8F5AF8089}">
      <dgm:prSet/>
      <dgm:spPr/>
      <dgm:t>
        <a:bodyPr/>
        <a:lstStyle/>
        <a:p>
          <a:r>
            <a:rPr lang="en-US" dirty="0">
              <a:solidFill>
                <a:schemeClr val="tx1"/>
              </a:solidFill>
            </a:rPr>
            <a:t>Project Launching</a:t>
          </a:r>
        </a:p>
      </dgm:t>
    </dgm:pt>
    <dgm:pt modelId="{9971EBE6-7925-42E1-9F4A-DA7FE5E63224}" type="parTrans" cxnId="{970E44F3-62FD-45AC-AB86-B2E658B3FE4D}">
      <dgm:prSet/>
      <dgm:spPr/>
      <dgm:t>
        <a:bodyPr/>
        <a:lstStyle/>
        <a:p>
          <a:endParaRPr lang="en-US"/>
        </a:p>
      </dgm:t>
    </dgm:pt>
    <dgm:pt modelId="{50F17B43-306B-43EC-9FE4-EECFCF8E8E3B}" type="sibTrans" cxnId="{970E44F3-62FD-45AC-AB86-B2E658B3FE4D}">
      <dgm:prSet/>
      <dgm:spPr/>
      <dgm:t>
        <a:bodyPr/>
        <a:lstStyle/>
        <a:p>
          <a:endParaRPr lang="en-US"/>
        </a:p>
      </dgm:t>
    </dgm:pt>
    <dgm:pt modelId="{B1B3E8EA-6D43-41DC-BD78-4269FD9496EA}">
      <dgm:prSet/>
      <dgm:spPr/>
      <dgm:t>
        <a:bodyPr/>
        <a:lstStyle/>
        <a:p>
          <a:r>
            <a:rPr lang="en-US" dirty="0">
              <a:solidFill>
                <a:schemeClr val="tx1"/>
              </a:solidFill>
            </a:rPr>
            <a:t>May 27, 2021</a:t>
          </a:r>
        </a:p>
      </dgm:t>
    </dgm:pt>
    <dgm:pt modelId="{B234EFB1-E72E-4B95-A26C-943E266604C5}" type="parTrans" cxnId="{9A93F29F-AF59-449A-9BE9-DE4121F4926F}">
      <dgm:prSet/>
      <dgm:spPr/>
      <dgm:t>
        <a:bodyPr/>
        <a:lstStyle/>
        <a:p>
          <a:endParaRPr lang="en-US"/>
        </a:p>
      </dgm:t>
    </dgm:pt>
    <dgm:pt modelId="{D96DA5E8-1C26-4D3C-A796-DDBB59CD1E40}" type="sibTrans" cxnId="{9A93F29F-AF59-449A-9BE9-DE4121F4926F}">
      <dgm:prSet/>
      <dgm:spPr/>
      <dgm:t>
        <a:bodyPr/>
        <a:lstStyle/>
        <a:p>
          <a:endParaRPr lang="en-US"/>
        </a:p>
      </dgm:t>
    </dgm:pt>
    <dgm:pt modelId="{58868217-61C2-4EE0-A5D1-C49F02B160C9}">
      <dgm:prSet/>
      <dgm:spPr/>
      <dgm:t>
        <a:bodyPr/>
        <a:lstStyle/>
        <a:p>
          <a:r>
            <a:rPr lang="en-US" dirty="0">
              <a:solidFill>
                <a:schemeClr val="tx1"/>
              </a:solidFill>
            </a:rPr>
            <a:t>PSC Meeting (Approval of Workplan/Budget and Implementation Manual)</a:t>
          </a:r>
        </a:p>
      </dgm:t>
    </dgm:pt>
    <dgm:pt modelId="{206EB178-67A3-4DD3-8895-73A34E7DE2B4}" type="parTrans" cxnId="{CB337F57-3D9B-4DC3-A1AA-0E3B166CF25E}">
      <dgm:prSet/>
      <dgm:spPr/>
      <dgm:t>
        <a:bodyPr/>
        <a:lstStyle/>
        <a:p>
          <a:endParaRPr lang="en-US"/>
        </a:p>
      </dgm:t>
    </dgm:pt>
    <dgm:pt modelId="{00CFEFD0-C3BE-456D-A872-C2E52A68E3A3}" type="sibTrans" cxnId="{CB337F57-3D9B-4DC3-A1AA-0E3B166CF25E}">
      <dgm:prSet/>
      <dgm:spPr/>
      <dgm:t>
        <a:bodyPr/>
        <a:lstStyle/>
        <a:p>
          <a:endParaRPr lang="en-US"/>
        </a:p>
      </dgm:t>
    </dgm:pt>
    <dgm:pt modelId="{EBEA9F54-7364-45F9-829B-BF1EB38AEB12}" type="pres">
      <dgm:prSet presAssocID="{A86DFA04-31EF-49B6-AFAE-2287858E0303}" presName="Name0" presStyleCnt="0">
        <dgm:presLayoutVars>
          <dgm:chMax/>
          <dgm:chPref/>
          <dgm:animLvl val="lvl"/>
        </dgm:presLayoutVars>
      </dgm:prSet>
      <dgm:spPr/>
    </dgm:pt>
    <dgm:pt modelId="{995E51C8-ABB7-4396-BADB-921767E04C1A}" type="pres">
      <dgm:prSet presAssocID="{EB669B84-D831-472E-8265-7F6B80F86771}" presName="composite1" presStyleCnt="0"/>
      <dgm:spPr/>
    </dgm:pt>
    <dgm:pt modelId="{C6A9158A-BBFA-4DED-813A-1F0F318FE29F}" type="pres">
      <dgm:prSet presAssocID="{EB669B84-D831-472E-8265-7F6B80F86771}" presName="parent1" presStyleLbl="alignNode1" presStyleIdx="0" presStyleCnt="13">
        <dgm:presLayoutVars>
          <dgm:chMax val="1"/>
          <dgm:chPref val="1"/>
          <dgm:bulletEnabled val="1"/>
        </dgm:presLayoutVars>
      </dgm:prSet>
      <dgm:spPr/>
    </dgm:pt>
    <dgm:pt modelId="{8105213B-9B2C-4D83-9F1B-EF70780348BA}" type="pres">
      <dgm:prSet presAssocID="{EB669B84-D831-472E-8265-7F6B80F86771}" presName="Childtext1" presStyleLbl="revTx" presStyleIdx="0" presStyleCnt="13">
        <dgm:presLayoutVars>
          <dgm:bulletEnabled val="1"/>
        </dgm:presLayoutVars>
      </dgm:prSet>
      <dgm:spPr/>
    </dgm:pt>
    <dgm:pt modelId="{7102E1E0-B7C3-4F76-9491-A3B3966921CA}" type="pres">
      <dgm:prSet presAssocID="{EB669B84-D831-472E-8265-7F6B80F86771}" presName="ConnectLine1" presStyleLbl="sibTrans1D1" presStyleIdx="0" presStyleCnt="13"/>
      <dgm:spPr>
        <a:noFill/>
        <a:ln w="12700" cap="flat" cmpd="sng" algn="ctr">
          <a:solidFill>
            <a:schemeClr val="accent1">
              <a:hueOff val="0"/>
              <a:satOff val="0"/>
              <a:lumOff val="0"/>
              <a:alphaOff val="0"/>
            </a:schemeClr>
          </a:solidFill>
          <a:prstDash val="dash"/>
        </a:ln>
        <a:effectLst/>
      </dgm:spPr>
    </dgm:pt>
    <dgm:pt modelId="{DD1A325B-39E0-401C-8088-588A028688CE}" type="pres">
      <dgm:prSet presAssocID="{EB669B84-D831-472E-8265-7F6B80F86771}" presName="ConnectLineEnd1" presStyleLbl="lnNode1" presStyleIdx="0" presStyleCnt="13"/>
      <dgm:spPr/>
    </dgm:pt>
    <dgm:pt modelId="{F5651F38-BA2C-4413-9222-4693F958F28F}" type="pres">
      <dgm:prSet presAssocID="{EB669B84-D831-472E-8265-7F6B80F86771}" presName="EmptyPane1" presStyleCnt="0"/>
      <dgm:spPr/>
    </dgm:pt>
    <dgm:pt modelId="{FAB4E4F9-F125-48C6-8D09-CED9C80D9184}" type="pres">
      <dgm:prSet presAssocID="{ED806E8B-4FE0-424B-B797-EC7AE4582E63}" presName="spaceBetweenRectangles1" presStyleCnt="0"/>
      <dgm:spPr/>
    </dgm:pt>
    <dgm:pt modelId="{E5ACC412-2FBD-44C2-9121-B3EB973E5C66}" type="pres">
      <dgm:prSet presAssocID="{9B50AE85-DEA1-41F3-9C2C-24A18069C473}" presName="composite1" presStyleCnt="0"/>
      <dgm:spPr/>
    </dgm:pt>
    <dgm:pt modelId="{DF71F57E-D542-4163-95B1-92B1B114497F}" type="pres">
      <dgm:prSet presAssocID="{9B50AE85-DEA1-41F3-9C2C-24A18069C473}" presName="parent1" presStyleLbl="alignNode1" presStyleIdx="1" presStyleCnt="13">
        <dgm:presLayoutVars>
          <dgm:chMax val="1"/>
          <dgm:chPref val="1"/>
          <dgm:bulletEnabled val="1"/>
        </dgm:presLayoutVars>
      </dgm:prSet>
      <dgm:spPr/>
    </dgm:pt>
    <dgm:pt modelId="{C0317DA2-D763-4621-9680-990E0F78E293}" type="pres">
      <dgm:prSet presAssocID="{9B50AE85-DEA1-41F3-9C2C-24A18069C473}" presName="Childtext1" presStyleLbl="revTx" presStyleIdx="1" presStyleCnt="13">
        <dgm:presLayoutVars>
          <dgm:bulletEnabled val="1"/>
        </dgm:presLayoutVars>
      </dgm:prSet>
      <dgm:spPr/>
    </dgm:pt>
    <dgm:pt modelId="{6898D4C1-54F6-4DA4-9607-F444437C8E6E}" type="pres">
      <dgm:prSet presAssocID="{9B50AE85-DEA1-41F3-9C2C-24A18069C473}" presName="ConnectLine1" presStyleLbl="sibTrans1D1" presStyleIdx="1" presStyleCnt="13"/>
      <dgm:spPr>
        <a:noFill/>
        <a:ln w="12700" cap="flat" cmpd="sng" algn="ctr">
          <a:solidFill>
            <a:schemeClr val="accent1">
              <a:hueOff val="0"/>
              <a:satOff val="0"/>
              <a:lumOff val="0"/>
              <a:alphaOff val="0"/>
            </a:schemeClr>
          </a:solidFill>
          <a:prstDash val="dash"/>
        </a:ln>
        <a:effectLst/>
      </dgm:spPr>
    </dgm:pt>
    <dgm:pt modelId="{D73D486C-1D43-4208-9FD9-CC7C2550C1E8}" type="pres">
      <dgm:prSet presAssocID="{9B50AE85-DEA1-41F3-9C2C-24A18069C473}" presName="ConnectLineEnd1" presStyleLbl="lnNode1" presStyleIdx="1" presStyleCnt="13"/>
      <dgm:spPr/>
    </dgm:pt>
    <dgm:pt modelId="{4E7CBB81-AC5E-4EE7-85AC-B9C4581F507F}" type="pres">
      <dgm:prSet presAssocID="{9B50AE85-DEA1-41F3-9C2C-24A18069C473}" presName="EmptyPane1" presStyleCnt="0"/>
      <dgm:spPr/>
    </dgm:pt>
    <dgm:pt modelId="{CDBD900D-671A-4B7A-AEE1-255109BAB918}" type="pres">
      <dgm:prSet presAssocID="{12A4AEA8-BC1D-4ADD-8236-A533A455F22E}" presName="spaceBetweenRectangles1" presStyleCnt="0"/>
      <dgm:spPr/>
    </dgm:pt>
    <dgm:pt modelId="{53484DED-F74E-4B4E-9E8B-3F206A29DEDD}" type="pres">
      <dgm:prSet presAssocID="{B157653D-2397-47E3-94A8-8E8B13726408}" presName="composite1" presStyleCnt="0"/>
      <dgm:spPr/>
    </dgm:pt>
    <dgm:pt modelId="{C0D22B8F-54BF-4FAE-9F7C-B58FA74468D0}" type="pres">
      <dgm:prSet presAssocID="{B157653D-2397-47E3-94A8-8E8B13726408}" presName="parent1" presStyleLbl="alignNode1" presStyleIdx="2" presStyleCnt="13">
        <dgm:presLayoutVars>
          <dgm:chMax val="1"/>
          <dgm:chPref val="1"/>
          <dgm:bulletEnabled val="1"/>
        </dgm:presLayoutVars>
      </dgm:prSet>
      <dgm:spPr/>
    </dgm:pt>
    <dgm:pt modelId="{E1F35975-00CA-4B74-AB7C-CD8812C99AEF}" type="pres">
      <dgm:prSet presAssocID="{B157653D-2397-47E3-94A8-8E8B13726408}" presName="Childtext1" presStyleLbl="revTx" presStyleIdx="2" presStyleCnt="13">
        <dgm:presLayoutVars>
          <dgm:bulletEnabled val="1"/>
        </dgm:presLayoutVars>
      </dgm:prSet>
      <dgm:spPr/>
    </dgm:pt>
    <dgm:pt modelId="{152FB453-AA1C-4C6D-86AE-2A7A4BF73B8B}" type="pres">
      <dgm:prSet presAssocID="{B157653D-2397-47E3-94A8-8E8B13726408}" presName="ConnectLine1" presStyleLbl="sibTrans1D1" presStyleIdx="2" presStyleCnt="13"/>
      <dgm:spPr>
        <a:noFill/>
        <a:ln w="12700" cap="flat" cmpd="sng" algn="ctr">
          <a:solidFill>
            <a:schemeClr val="accent1">
              <a:hueOff val="0"/>
              <a:satOff val="0"/>
              <a:lumOff val="0"/>
              <a:alphaOff val="0"/>
            </a:schemeClr>
          </a:solidFill>
          <a:prstDash val="dash"/>
        </a:ln>
        <a:effectLst/>
      </dgm:spPr>
    </dgm:pt>
    <dgm:pt modelId="{BC9CEA29-8429-48CF-B30A-81626D4345E2}" type="pres">
      <dgm:prSet presAssocID="{B157653D-2397-47E3-94A8-8E8B13726408}" presName="ConnectLineEnd1" presStyleLbl="lnNode1" presStyleIdx="2" presStyleCnt="13"/>
      <dgm:spPr/>
    </dgm:pt>
    <dgm:pt modelId="{F432CF4A-CFEA-4E45-BD59-26AD14D60A5D}" type="pres">
      <dgm:prSet presAssocID="{B157653D-2397-47E3-94A8-8E8B13726408}" presName="EmptyPane1" presStyleCnt="0"/>
      <dgm:spPr/>
    </dgm:pt>
    <dgm:pt modelId="{54C24B14-3382-4169-9932-5867C1A9873B}" type="pres">
      <dgm:prSet presAssocID="{C11CD3A4-ED92-4609-A589-8DA6272582F8}" presName="spaceBetweenRectangles1" presStyleCnt="0"/>
      <dgm:spPr/>
    </dgm:pt>
    <dgm:pt modelId="{A0BEAC25-FD2E-4FCC-B803-03E10BF445B9}" type="pres">
      <dgm:prSet presAssocID="{6B7869AD-54CD-443E-9269-95A6919010E7}" presName="composite1" presStyleCnt="0"/>
      <dgm:spPr/>
    </dgm:pt>
    <dgm:pt modelId="{6014BCA6-091B-4DF5-97E7-59AAC2BED10A}" type="pres">
      <dgm:prSet presAssocID="{6B7869AD-54CD-443E-9269-95A6919010E7}" presName="parent1" presStyleLbl="alignNode1" presStyleIdx="3" presStyleCnt="13">
        <dgm:presLayoutVars>
          <dgm:chMax val="1"/>
          <dgm:chPref val="1"/>
          <dgm:bulletEnabled val="1"/>
        </dgm:presLayoutVars>
      </dgm:prSet>
      <dgm:spPr/>
    </dgm:pt>
    <dgm:pt modelId="{9EB9A4EB-2FF2-4800-8AEA-CFD8C2B65D17}" type="pres">
      <dgm:prSet presAssocID="{6B7869AD-54CD-443E-9269-95A6919010E7}" presName="Childtext1" presStyleLbl="revTx" presStyleIdx="3" presStyleCnt="13">
        <dgm:presLayoutVars>
          <dgm:bulletEnabled val="1"/>
        </dgm:presLayoutVars>
      </dgm:prSet>
      <dgm:spPr/>
    </dgm:pt>
    <dgm:pt modelId="{8AE213BA-D8A5-421E-9FDD-0DB9C17245FC}" type="pres">
      <dgm:prSet presAssocID="{6B7869AD-54CD-443E-9269-95A6919010E7}" presName="ConnectLine1" presStyleLbl="sibTrans1D1" presStyleIdx="3" presStyleCnt="13"/>
      <dgm:spPr>
        <a:noFill/>
        <a:ln w="12700" cap="flat" cmpd="sng" algn="ctr">
          <a:solidFill>
            <a:schemeClr val="accent1">
              <a:hueOff val="0"/>
              <a:satOff val="0"/>
              <a:lumOff val="0"/>
              <a:alphaOff val="0"/>
            </a:schemeClr>
          </a:solidFill>
          <a:prstDash val="dash"/>
        </a:ln>
        <a:effectLst/>
      </dgm:spPr>
    </dgm:pt>
    <dgm:pt modelId="{EFA63A6B-0A79-485D-8352-11725A980252}" type="pres">
      <dgm:prSet presAssocID="{6B7869AD-54CD-443E-9269-95A6919010E7}" presName="ConnectLineEnd1" presStyleLbl="lnNode1" presStyleIdx="3" presStyleCnt="13"/>
      <dgm:spPr/>
    </dgm:pt>
    <dgm:pt modelId="{52EF08A6-1E5D-43DE-A28A-986FAA800161}" type="pres">
      <dgm:prSet presAssocID="{6B7869AD-54CD-443E-9269-95A6919010E7}" presName="EmptyPane1" presStyleCnt="0"/>
      <dgm:spPr/>
    </dgm:pt>
    <dgm:pt modelId="{92B24F9B-F249-4D79-8F70-2AA68443C59C}" type="pres">
      <dgm:prSet presAssocID="{8910EF4A-60A7-4962-B3C4-BCBEBE91F592}" presName="spaceBetweenRectangles1" presStyleCnt="0"/>
      <dgm:spPr/>
    </dgm:pt>
    <dgm:pt modelId="{24399930-1F33-4594-AEB1-B9A640A7372D}" type="pres">
      <dgm:prSet presAssocID="{FE2BFC9E-28A7-4E83-91F6-BF69B631EFC2}" presName="composite1" presStyleCnt="0"/>
      <dgm:spPr/>
    </dgm:pt>
    <dgm:pt modelId="{8108F8EA-63BF-43CD-9F06-FAB14DD36490}" type="pres">
      <dgm:prSet presAssocID="{FE2BFC9E-28A7-4E83-91F6-BF69B631EFC2}" presName="parent1" presStyleLbl="alignNode1" presStyleIdx="4" presStyleCnt="13">
        <dgm:presLayoutVars>
          <dgm:chMax val="1"/>
          <dgm:chPref val="1"/>
          <dgm:bulletEnabled val="1"/>
        </dgm:presLayoutVars>
      </dgm:prSet>
      <dgm:spPr/>
    </dgm:pt>
    <dgm:pt modelId="{EFA4158A-9CA8-4D33-A149-EB6110EA1269}" type="pres">
      <dgm:prSet presAssocID="{FE2BFC9E-28A7-4E83-91F6-BF69B631EFC2}" presName="Childtext1" presStyleLbl="revTx" presStyleIdx="4" presStyleCnt="13">
        <dgm:presLayoutVars>
          <dgm:bulletEnabled val="1"/>
        </dgm:presLayoutVars>
      </dgm:prSet>
      <dgm:spPr/>
    </dgm:pt>
    <dgm:pt modelId="{12E85994-A1B7-4E08-899B-1A49312F5B21}" type="pres">
      <dgm:prSet presAssocID="{FE2BFC9E-28A7-4E83-91F6-BF69B631EFC2}" presName="ConnectLine1" presStyleLbl="sibTrans1D1" presStyleIdx="4" presStyleCnt="13"/>
      <dgm:spPr>
        <a:noFill/>
        <a:ln w="12700" cap="flat" cmpd="sng" algn="ctr">
          <a:solidFill>
            <a:schemeClr val="accent1">
              <a:hueOff val="0"/>
              <a:satOff val="0"/>
              <a:lumOff val="0"/>
              <a:alphaOff val="0"/>
            </a:schemeClr>
          </a:solidFill>
          <a:prstDash val="dash"/>
        </a:ln>
        <a:effectLst/>
      </dgm:spPr>
    </dgm:pt>
    <dgm:pt modelId="{312E90A0-C6A2-413B-8A56-A92B9FC00679}" type="pres">
      <dgm:prSet presAssocID="{FE2BFC9E-28A7-4E83-91F6-BF69B631EFC2}" presName="ConnectLineEnd1" presStyleLbl="lnNode1" presStyleIdx="4" presStyleCnt="13"/>
      <dgm:spPr/>
    </dgm:pt>
    <dgm:pt modelId="{DD643EA6-017D-4B6A-8B17-EA4CE7FEC11C}" type="pres">
      <dgm:prSet presAssocID="{FE2BFC9E-28A7-4E83-91F6-BF69B631EFC2}" presName="EmptyPane1" presStyleCnt="0"/>
      <dgm:spPr/>
    </dgm:pt>
    <dgm:pt modelId="{83F3D1B6-E79E-4212-AD05-83BED28997E4}" type="pres">
      <dgm:prSet presAssocID="{026D27EE-1A43-43D1-A6A3-FAD15379FE0D}" presName="spaceBetweenRectangles1" presStyleCnt="0"/>
      <dgm:spPr/>
    </dgm:pt>
    <dgm:pt modelId="{06FAD99D-5FF8-4EBB-A5FB-F041578F76D4}" type="pres">
      <dgm:prSet presAssocID="{501DC69F-43F9-4B1E-BE22-6D9FA0AFC528}" presName="composite1" presStyleCnt="0"/>
      <dgm:spPr/>
    </dgm:pt>
    <dgm:pt modelId="{70073129-181E-4CDA-8814-F1E5000C8C53}" type="pres">
      <dgm:prSet presAssocID="{501DC69F-43F9-4B1E-BE22-6D9FA0AFC528}" presName="parent1" presStyleLbl="alignNode1" presStyleIdx="5" presStyleCnt="13">
        <dgm:presLayoutVars>
          <dgm:chMax val="1"/>
          <dgm:chPref val="1"/>
          <dgm:bulletEnabled val="1"/>
        </dgm:presLayoutVars>
      </dgm:prSet>
      <dgm:spPr/>
    </dgm:pt>
    <dgm:pt modelId="{5A20FA73-3A21-4484-9105-C650E9C6EB1C}" type="pres">
      <dgm:prSet presAssocID="{501DC69F-43F9-4B1E-BE22-6D9FA0AFC528}" presName="Childtext1" presStyleLbl="revTx" presStyleIdx="5" presStyleCnt="13">
        <dgm:presLayoutVars>
          <dgm:bulletEnabled val="1"/>
        </dgm:presLayoutVars>
      </dgm:prSet>
      <dgm:spPr/>
    </dgm:pt>
    <dgm:pt modelId="{26F3F9B3-7461-4A61-97B5-AF1F062A6A31}" type="pres">
      <dgm:prSet presAssocID="{501DC69F-43F9-4B1E-BE22-6D9FA0AFC528}" presName="ConnectLine1" presStyleLbl="sibTrans1D1" presStyleIdx="5" presStyleCnt="13"/>
      <dgm:spPr>
        <a:noFill/>
        <a:ln w="12700" cap="flat" cmpd="sng" algn="ctr">
          <a:solidFill>
            <a:schemeClr val="accent1">
              <a:hueOff val="0"/>
              <a:satOff val="0"/>
              <a:lumOff val="0"/>
              <a:alphaOff val="0"/>
            </a:schemeClr>
          </a:solidFill>
          <a:prstDash val="dash"/>
        </a:ln>
        <a:effectLst/>
      </dgm:spPr>
    </dgm:pt>
    <dgm:pt modelId="{6AD3676B-B35C-4F1B-B891-E6A623B39C7E}" type="pres">
      <dgm:prSet presAssocID="{501DC69F-43F9-4B1E-BE22-6D9FA0AFC528}" presName="ConnectLineEnd1" presStyleLbl="lnNode1" presStyleIdx="5" presStyleCnt="13"/>
      <dgm:spPr/>
    </dgm:pt>
    <dgm:pt modelId="{11B4905D-2274-468C-AF2A-5EB9623228BD}" type="pres">
      <dgm:prSet presAssocID="{501DC69F-43F9-4B1E-BE22-6D9FA0AFC528}" presName="EmptyPane1" presStyleCnt="0"/>
      <dgm:spPr/>
    </dgm:pt>
    <dgm:pt modelId="{BA5551F3-BB68-446A-8242-9B50C869257A}" type="pres">
      <dgm:prSet presAssocID="{05A1C2F3-0854-4F17-AD49-F6E4F5029DC1}" presName="spaceBetweenRectangles1" presStyleCnt="0"/>
      <dgm:spPr/>
    </dgm:pt>
    <dgm:pt modelId="{84094D42-D65E-4975-8FAA-1E707A790A27}" type="pres">
      <dgm:prSet presAssocID="{7204F8F5-AE18-4381-B325-4BC1DC9E0188}" presName="composite1" presStyleCnt="0"/>
      <dgm:spPr/>
    </dgm:pt>
    <dgm:pt modelId="{DF5C0733-0330-4F0C-98AC-84AB3750ECBB}" type="pres">
      <dgm:prSet presAssocID="{7204F8F5-AE18-4381-B325-4BC1DC9E0188}" presName="parent1" presStyleLbl="alignNode1" presStyleIdx="6" presStyleCnt="13">
        <dgm:presLayoutVars>
          <dgm:chMax val="1"/>
          <dgm:chPref val="1"/>
          <dgm:bulletEnabled val="1"/>
        </dgm:presLayoutVars>
      </dgm:prSet>
      <dgm:spPr/>
    </dgm:pt>
    <dgm:pt modelId="{4ABF3893-110F-49A2-A0B5-F97D554EB502}" type="pres">
      <dgm:prSet presAssocID="{7204F8F5-AE18-4381-B325-4BC1DC9E0188}" presName="Childtext1" presStyleLbl="revTx" presStyleIdx="6" presStyleCnt="13">
        <dgm:presLayoutVars>
          <dgm:bulletEnabled val="1"/>
        </dgm:presLayoutVars>
      </dgm:prSet>
      <dgm:spPr/>
    </dgm:pt>
    <dgm:pt modelId="{6CBBD92F-DE88-4D85-9025-B32662F65C69}" type="pres">
      <dgm:prSet presAssocID="{7204F8F5-AE18-4381-B325-4BC1DC9E0188}" presName="ConnectLine1" presStyleLbl="sibTrans1D1" presStyleIdx="6" presStyleCnt="13"/>
      <dgm:spPr>
        <a:noFill/>
        <a:ln w="12700" cap="flat" cmpd="sng" algn="ctr">
          <a:solidFill>
            <a:schemeClr val="accent1">
              <a:hueOff val="0"/>
              <a:satOff val="0"/>
              <a:lumOff val="0"/>
              <a:alphaOff val="0"/>
            </a:schemeClr>
          </a:solidFill>
          <a:prstDash val="dash"/>
        </a:ln>
        <a:effectLst/>
      </dgm:spPr>
    </dgm:pt>
    <dgm:pt modelId="{0DC9152C-DC27-40A1-9489-4F5568F0BD0A}" type="pres">
      <dgm:prSet presAssocID="{7204F8F5-AE18-4381-B325-4BC1DC9E0188}" presName="ConnectLineEnd1" presStyleLbl="lnNode1" presStyleIdx="6" presStyleCnt="13"/>
      <dgm:spPr/>
    </dgm:pt>
    <dgm:pt modelId="{1C5574E8-8F81-4BAC-AD1F-1DC7FB44587E}" type="pres">
      <dgm:prSet presAssocID="{7204F8F5-AE18-4381-B325-4BC1DC9E0188}" presName="EmptyPane1" presStyleCnt="0"/>
      <dgm:spPr/>
    </dgm:pt>
    <dgm:pt modelId="{36B4D58D-6309-4414-8F6E-2E0106905827}" type="pres">
      <dgm:prSet presAssocID="{6187C5A8-7261-419F-848E-A04D6CDCC1BD}" presName="spaceBetweenRectangles1" presStyleCnt="0"/>
      <dgm:spPr/>
    </dgm:pt>
    <dgm:pt modelId="{D075426A-A660-40C5-BFD0-D91B6E8A6DC9}" type="pres">
      <dgm:prSet presAssocID="{D8FCE50B-8057-456A-B2A9-965F28038B25}" presName="composite1" presStyleCnt="0"/>
      <dgm:spPr/>
    </dgm:pt>
    <dgm:pt modelId="{9511AAD5-7310-4E62-80E4-23999FD38C38}" type="pres">
      <dgm:prSet presAssocID="{D8FCE50B-8057-456A-B2A9-965F28038B25}" presName="parent1" presStyleLbl="alignNode1" presStyleIdx="7" presStyleCnt="13">
        <dgm:presLayoutVars>
          <dgm:chMax val="1"/>
          <dgm:chPref val="1"/>
          <dgm:bulletEnabled val="1"/>
        </dgm:presLayoutVars>
      </dgm:prSet>
      <dgm:spPr/>
    </dgm:pt>
    <dgm:pt modelId="{EA8C2C57-BE56-4D05-A8E8-A96AD56903AD}" type="pres">
      <dgm:prSet presAssocID="{D8FCE50B-8057-456A-B2A9-965F28038B25}" presName="Childtext1" presStyleLbl="revTx" presStyleIdx="7" presStyleCnt="13">
        <dgm:presLayoutVars>
          <dgm:bulletEnabled val="1"/>
        </dgm:presLayoutVars>
      </dgm:prSet>
      <dgm:spPr/>
    </dgm:pt>
    <dgm:pt modelId="{CB9CAB1D-6858-48F5-9C36-F4F7202AA5F2}" type="pres">
      <dgm:prSet presAssocID="{D8FCE50B-8057-456A-B2A9-965F28038B25}" presName="ConnectLine1" presStyleLbl="sibTrans1D1" presStyleIdx="7" presStyleCnt="13"/>
      <dgm:spPr>
        <a:noFill/>
        <a:ln w="12700" cap="flat" cmpd="sng" algn="ctr">
          <a:solidFill>
            <a:schemeClr val="accent1">
              <a:hueOff val="0"/>
              <a:satOff val="0"/>
              <a:lumOff val="0"/>
              <a:alphaOff val="0"/>
            </a:schemeClr>
          </a:solidFill>
          <a:prstDash val="dash"/>
        </a:ln>
        <a:effectLst/>
      </dgm:spPr>
    </dgm:pt>
    <dgm:pt modelId="{4F4A4BEC-C32A-41B0-A75D-A154BCB3F11D}" type="pres">
      <dgm:prSet presAssocID="{D8FCE50B-8057-456A-B2A9-965F28038B25}" presName="ConnectLineEnd1" presStyleLbl="lnNode1" presStyleIdx="7" presStyleCnt="13"/>
      <dgm:spPr/>
    </dgm:pt>
    <dgm:pt modelId="{52B4541B-523A-4E89-AB23-42FA6AA66929}" type="pres">
      <dgm:prSet presAssocID="{D8FCE50B-8057-456A-B2A9-965F28038B25}" presName="EmptyPane1" presStyleCnt="0"/>
      <dgm:spPr/>
    </dgm:pt>
    <dgm:pt modelId="{48DD46E4-FDDF-46C9-881B-2009152E3EFD}" type="pres">
      <dgm:prSet presAssocID="{338B3E43-3652-4902-AE82-69646DE76CA7}" presName="spaceBetweenRectangles1" presStyleCnt="0"/>
      <dgm:spPr/>
    </dgm:pt>
    <dgm:pt modelId="{00B41129-86DD-4BEC-8442-CE046E584B95}" type="pres">
      <dgm:prSet presAssocID="{B796DF0F-C0A1-460D-8148-4EF47476B8E1}" presName="composite1" presStyleCnt="0"/>
      <dgm:spPr/>
    </dgm:pt>
    <dgm:pt modelId="{A5772133-2920-42B6-83BA-4A8604008EBB}" type="pres">
      <dgm:prSet presAssocID="{B796DF0F-C0A1-460D-8148-4EF47476B8E1}" presName="parent1" presStyleLbl="alignNode1" presStyleIdx="8" presStyleCnt="13">
        <dgm:presLayoutVars>
          <dgm:chMax val="1"/>
          <dgm:chPref val="1"/>
          <dgm:bulletEnabled val="1"/>
        </dgm:presLayoutVars>
      </dgm:prSet>
      <dgm:spPr/>
    </dgm:pt>
    <dgm:pt modelId="{35D163A5-5DA1-455B-8FC7-D95ED674E5B1}" type="pres">
      <dgm:prSet presAssocID="{B796DF0F-C0A1-460D-8148-4EF47476B8E1}" presName="Childtext1" presStyleLbl="revTx" presStyleIdx="8" presStyleCnt="13">
        <dgm:presLayoutVars>
          <dgm:bulletEnabled val="1"/>
        </dgm:presLayoutVars>
      </dgm:prSet>
      <dgm:spPr/>
    </dgm:pt>
    <dgm:pt modelId="{B07C20D0-A685-450C-8CD9-5FE413095B29}" type="pres">
      <dgm:prSet presAssocID="{B796DF0F-C0A1-460D-8148-4EF47476B8E1}" presName="ConnectLine1" presStyleLbl="sibTrans1D1" presStyleIdx="8" presStyleCnt="13"/>
      <dgm:spPr>
        <a:noFill/>
        <a:ln w="12700" cap="flat" cmpd="sng" algn="ctr">
          <a:solidFill>
            <a:schemeClr val="accent1">
              <a:hueOff val="0"/>
              <a:satOff val="0"/>
              <a:lumOff val="0"/>
              <a:alphaOff val="0"/>
            </a:schemeClr>
          </a:solidFill>
          <a:prstDash val="dash"/>
        </a:ln>
        <a:effectLst/>
      </dgm:spPr>
    </dgm:pt>
    <dgm:pt modelId="{A149D706-E3FE-45C5-978B-34DA458357EE}" type="pres">
      <dgm:prSet presAssocID="{B796DF0F-C0A1-460D-8148-4EF47476B8E1}" presName="ConnectLineEnd1" presStyleLbl="lnNode1" presStyleIdx="8" presStyleCnt="13"/>
      <dgm:spPr/>
    </dgm:pt>
    <dgm:pt modelId="{1BA9FD4B-9484-44C5-AA0E-ADB0FEE4A311}" type="pres">
      <dgm:prSet presAssocID="{B796DF0F-C0A1-460D-8148-4EF47476B8E1}" presName="EmptyPane1" presStyleCnt="0"/>
      <dgm:spPr/>
    </dgm:pt>
    <dgm:pt modelId="{ED09C4EF-8FB3-4B64-AEC6-9963E49AAAC2}" type="pres">
      <dgm:prSet presAssocID="{129CFC53-CF53-4B94-9D16-D33B50A0116D}" presName="spaceBetweenRectangles1" presStyleCnt="0"/>
      <dgm:spPr/>
    </dgm:pt>
    <dgm:pt modelId="{5EA8DCE2-3409-418C-8A3E-6E932421CDB7}" type="pres">
      <dgm:prSet presAssocID="{790F952A-B031-4F94-B816-663437DAF0FC}" presName="composite1" presStyleCnt="0"/>
      <dgm:spPr/>
    </dgm:pt>
    <dgm:pt modelId="{A3F43FEA-0834-48CC-80D2-F9C98EE38C24}" type="pres">
      <dgm:prSet presAssocID="{790F952A-B031-4F94-B816-663437DAF0FC}" presName="parent1" presStyleLbl="alignNode1" presStyleIdx="9" presStyleCnt="13">
        <dgm:presLayoutVars>
          <dgm:chMax val="1"/>
          <dgm:chPref val="1"/>
          <dgm:bulletEnabled val="1"/>
        </dgm:presLayoutVars>
      </dgm:prSet>
      <dgm:spPr/>
    </dgm:pt>
    <dgm:pt modelId="{99A514BB-3884-415F-9CF1-B656D28B290D}" type="pres">
      <dgm:prSet presAssocID="{790F952A-B031-4F94-B816-663437DAF0FC}" presName="Childtext1" presStyleLbl="revTx" presStyleIdx="9" presStyleCnt="13">
        <dgm:presLayoutVars>
          <dgm:bulletEnabled val="1"/>
        </dgm:presLayoutVars>
      </dgm:prSet>
      <dgm:spPr/>
    </dgm:pt>
    <dgm:pt modelId="{CE6AA003-DA7A-48F0-94CB-282E08E278A7}" type="pres">
      <dgm:prSet presAssocID="{790F952A-B031-4F94-B816-663437DAF0FC}" presName="ConnectLine1" presStyleLbl="sibTrans1D1" presStyleIdx="9" presStyleCnt="13"/>
      <dgm:spPr>
        <a:noFill/>
        <a:ln w="9525" cap="flat" cmpd="sng" algn="ctr">
          <a:solidFill>
            <a:schemeClr val="accent1">
              <a:hueOff val="0"/>
              <a:satOff val="0"/>
              <a:lumOff val="0"/>
              <a:alphaOff val="0"/>
            </a:schemeClr>
          </a:solidFill>
          <a:prstDash val="dash"/>
        </a:ln>
        <a:effectLst/>
      </dgm:spPr>
    </dgm:pt>
    <dgm:pt modelId="{B0D7B4E5-A949-4B7A-AFBF-23B8671A67B3}" type="pres">
      <dgm:prSet presAssocID="{790F952A-B031-4F94-B816-663437DAF0FC}" presName="ConnectLineEnd1" presStyleLbl="lnNode1" presStyleIdx="9" presStyleCnt="13"/>
      <dgm:spPr/>
    </dgm:pt>
    <dgm:pt modelId="{FF8772B4-1D6E-43D0-9834-E28E56985314}" type="pres">
      <dgm:prSet presAssocID="{790F952A-B031-4F94-B816-663437DAF0FC}" presName="EmptyPane1" presStyleCnt="0"/>
      <dgm:spPr/>
    </dgm:pt>
    <dgm:pt modelId="{8AA7C433-1FE1-4E09-936D-ABA735D1C9A2}" type="pres">
      <dgm:prSet presAssocID="{52618CA3-9F71-48A9-9A9D-3405228F7A50}" presName="spaceBetweenRectangles1" presStyleCnt="0"/>
      <dgm:spPr/>
    </dgm:pt>
    <dgm:pt modelId="{4BD5FD44-D031-4098-8588-BE6D7B1A2093}" type="pres">
      <dgm:prSet presAssocID="{B1B3E8EA-6D43-41DC-BD78-4269FD9496EA}" presName="composite1" presStyleCnt="0"/>
      <dgm:spPr/>
    </dgm:pt>
    <dgm:pt modelId="{21FED211-814C-4E2F-BAD3-AFCD9748E3DD}" type="pres">
      <dgm:prSet presAssocID="{B1B3E8EA-6D43-41DC-BD78-4269FD9496EA}" presName="parent1" presStyleLbl="alignNode1" presStyleIdx="10" presStyleCnt="13">
        <dgm:presLayoutVars>
          <dgm:chMax val="1"/>
          <dgm:chPref val="1"/>
          <dgm:bulletEnabled val="1"/>
        </dgm:presLayoutVars>
      </dgm:prSet>
      <dgm:spPr/>
    </dgm:pt>
    <dgm:pt modelId="{C3DFA74F-3365-4D08-A010-707AAD545814}" type="pres">
      <dgm:prSet presAssocID="{B1B3E8EA-6D43-41DC-BD78-4269FD9496EA}" presName="Childtext1" presStyleLbl="revTx" presStyleIdx="10" presStyleCnt="13">
        <dgm:presLayoutVars>
          <dgm:bulletEnabled val="1"/>
        </dgm:presLayoutVars>
      </dgm:prSet>
      <dgm:spPr/>
    </dgm:pt>
    <dgm:pt modelId="{D9C897B8-FFB6-4C58-B5E5-97F649197DAF}" type="pres">
      <dgm:prSet presAssocID="{B1B3E8EA-6D43-41DC-BD78-4269FD9496EA}" presName="ConnectLine1" presStyleLbl="sibTrans1D1" presStyleIdx="10" presStyleCnt="13"/>
      <dgm:spPr>
        <a:noFill/>
        <a:ln w="9525" cap="flat" cmpd="sng" algn="ctr">
          <a:solidFill>
            <a:schemeClr val="accent1">
              <a:hueOff val="0"/>
              <a:satOff val="0"/>
              <a:lumOff val="0"/>
              <a:alphaOff val="0"/>
            </a:schemeClr>
          </a:solidFill>
          <a:prstDash val="dash"/>
        </a:ln>
        <a:effectLst/>
      </dgm:spPr>
    </dgm:pt>
    <dgm:pt modelId="{7C20B12A-BB34-4A4D-AEAF-438357388139}" type="pres">
      <dgm:prSet presAssocID="{B1B3E8EA-6D43-41DC-BD78-4269FD9496EA}" presName="ConnectLineEnd1" presStyleLbl="lnNode1" presStyleIdx="10" presStyleCnt="13"/>
      <dgm:spPr/>
    </dgm:pt>
    <dgm:pt modelId="{CAD8DA20-56BC-488D-916F-3A6EB904F8BD}" type="pres">
      <dgm:prSet presAssocID="{B1B3E8EA-6D43-41DC-BD78-4269FD9496EA}" presName="EmptyPane1" presStyleCnt="0"/>
      <dgm:spPr/>
    </dgm:pt>
    <dgm:pt modelId="{59052149-4F59-43A5-9D52-29A4842B0F30}" type="pres">
      <dgm:prSet presAssocID="{D96DA5E8-1C26-4D3C-A796-DDBB59CD1E40}" presName="spaceBetweenRectangles1" presStyleCnt="0"/>
      <dgm:spPr/>
    </dgm:pt>
    <dgm:pt modelId="{A22EC965-ACC5-4785-A75C-77D42254279B}" type="pres">
      <dgm:prSet presAssocID="{C6E2AF98-3D29-4F20-90C1-F2616A2BA391}" presName="composite1" presStyleCnt="0"/>
      <dgm:spPr/>
    </dgm:pt>
    <dgm:pt modelId="{14B5A3E7-B3DC-4CB4-A581-7C6D150CD4CE}" type="pres">
      <dgm:prSet presAssocID="{C6E2AF98-3D29-4F20-90C1-F2616A2BA391}" presName="parent1" presStyleLbl="alignNode1" presStyleIdx="11" presStyleCnt="13" custScaleX="102362">
        <dgm:presLayoutVars>
          <dgm:chMax val="1"/>
          <dgm:chPref val="1"/>
          <dgm:bulletEnabled val="1"/>
        </dgm:presLayoutVars>
      </dgm:prSet>
      <dgm:spPr/>
    </dgm:pt>
    <dgm:pt modelId="{EDF83352-8452-4060-95B2-861797E1B118}" type="pres">
      <dgm:prSet presAssocID="{C6E2AF98-3D29-4F20-90C1-F2616A2BA391}" presName="Childtext1" presStyleLbl="revTx" presStyleIdx="11" presStyleCnt="13">
        <dgm:presLayoutVars>
          <dgm:bulletEnabled val="1"/>
        </dgm:presLayoutVars>
      </dgm:prSet>
      <dgm:spPr/>
    </dgm:pt>
    <dgm:pt modelId="{D5B43AFD-C705-41A3-A3E3-441F9B8F04A8}" type="pres">
      <dgm:prSet presAssocID="{C6E2AF98-3D29-4F20-90C1-F2616A2BA391}" presName="ConnectLine1" presStyleLbl="sibTrans1D1" presStyleIdx="11" presStyleCnt="13"/>
      <dgm:spPr>
        <a:noFill/>
        <a:ln w="9525" cap="flat" cmpd="sng" algn="ctr">
          <a:solidFill>
            <a:schemeClr val="accent1">
              <a:hueOff val="0"/>
              <a:satOff val="0"/>
              <a:lumOff val="0"/>
              <a:alphaOff val="0"/>
            </a:schemeClr>
          </a:solidFill>
          <a:prstDash val="dash"/>
        </a:ln>
        <a:effectLst/>
      </dgm:spPr>
    </dgm:pt>
    <dgm:pt modelId="{98341798-6BA7-400B-8B04-F7CDB9BF2EB2}" type="pres">
      <dgm:prSet presAssocID="{C6E2AF98-3D29-4F20-90C1-F2616A2BA391}" presName="ConnectLineEnd1" presStyleLbl="lnNode1" presStyleIdx="11" presStyleCnt="13"/>
      <dgm:spPr/>
    </dgm:pt>
    <dgm:pt modelId="{5F892F3E-C524-4F14-A2FF-15D139A357C4}" type="pres">
      <dgm:prSet presAssocID="{C6E2AF98-3D29-4F20-90C1-F2616A2BA391}" presName="EmptyPane1" presStyleCnt="0"/>
      <dgm:spPr/>
    </dgm:pt>
    <dgm:pt modelId="{8FAED3A6-5E58-4A41-9790-C8EBBAA02FD1}" type="pres">
      <dgm:prSet presAssocID="{03237CE1-77D0-455D-A056-459A81F9D14A}" presName="spaceBetweenRectangles1" presStyleCnt="0"/>
      <dgm:spPr/>
    </dgm:pt>
    <dgm:pt modelId="{0CA4EFEF-5B00-48D9-83A4-0728171DD424}" type="pres">
      <dgm:prSet presAssocID="{1DC39BEA-60F0-4132-AC99-BEEA304523BF}" presName="composite1" presStyleCnt="0"/>
      <dgm:spPr/>
    </dgm:pt>
    <dgm:pt modelId="{30007589-79AA-436B-A521-6A689039C51A}" type="pres">
      <dgm:prSet presAssocID="{1DC39BEA-60F0-4132-AC99-BEEA304523BF}" presName="parent1" presStyleLbl="alignNode1" presStyleIdx="12" presStyleCnt="13" custScaleX="113890">
        <dgm:presLayoutVars>
          <dgm:chMax val="1"/>
          <dgm:chPref val="1"/>
          <dgm:bulletEnabled val="1"/>
        </dgm:presLayoutVars>
      </dgm:prSet>
      <dgm:spPr/>
    </dgm:pt>
    <dgm:pt modelId="{59A32783-E754-41E3-A740-899075907B5D}" type="pres">
      <dgm:prSet presAssocID="{1DC39BEA-60F0-4132-AC99-BEEA304523BF}" presName="Childtext1" presStyleLbl="revTx" presStyleIdx="12" presStyleCnt="13">
        <dgm:presLayoutVars>
          <dgm:bulletEnabled val="1"/>
        </dgm:presLayoutVars>
      </dgm:prSet>
      <dgm:spPr/>
    </dgm:pt>
    <dgm:pt modelId="{75B6C137-0D1A-4352-B5BF-B9BA23D55469}" type="pres">
      <dgm:prSet presAssocID="{1DC39BEA-60F0-4132-AC99-BEEA304523BF}" presName="ConnectLine1" presStyleLbl="sibTrans1D1" presStyleIdx="12" presStyleCnt="13"/>
      <dgm:spPr>
        <a:noFill/>
        <a:ln w="9525" cap="flat" cmpd="sng" algn="ctr">
          <a:solidFill>
            <a:schemeClr val="accent1">
              <a:hueOff val="0"/>
              <a:satOff val="0"/>
              <a:lumOff val="0"/>
              <a:alphaOff val="0"/>
            </a:schemeClr>
          </a:solidFill>
          <a:prstDash val="dash"/>
        </a:ln>
        <a:effectLst/>
      </dgm:spPr>
    </dgm:pt>
    <dgm:pt modelId="{C11AD0F7-1B8E-48E9-85EA-266E1D0C4DC5}" type="pres">
      <dgm:prSet presAssocID="{1DC39BEA-60F0-4132-AC99-BEEA304523BF}" presName="ConnectLineEnd1" presStyleLbl="lnNode1" presStyleIdx="12" presStyleCnt="13"/>
      <dgm:spPr/>
    </dgm:pt>
    <dgm:pt modelId="{8D018BC3-2F5D-414F-A6B9-1D5B39E668C4}" type="pres">
      <dgm:prSet presAssocID="{1DC39BEA-60F0-4132-AC99-BEEA304523BF}" presName="EmptyPane1" presStyleCnt="0"/>
      <dgm:spPr/>
    </dgm:pt>
  </dgm:ptLst>
  <dgm:cxnLst>
    <dgm:cxn modelId="{C84BFE01-7F09-47C7-A8CC-D0FA599BD798}" type="presOf" srcId="{EB669B84-D831-472E-8265-7F6B80F86771}" destId="{C6A9158A-BBFA-4DED-813A-1F0F318FE29F}" srcOrd="0" destOrd="0" presId="urn:microsoft.com/office/officeart/2016/7/layout/RoundedRectangleTimeline"/>
    <dgm:cxn modelId="{0231890E-C564-48ED-B8C9-179138EA13F9}" type="presOf" srcId="{C3BCB541-EE96-4138-9EC3-33BA427A5638}" destId="{EFA4158A-9CA8-4D33-A149-EB6110EA1269}" srcOrd="0" destOrd="0" presId="urn:microsoft.com/office/officeart/2016/7/layout/RoundedRectangleTimeline"/>
    <dgm:cxn modelId="{E50EA410-61F4-443F-B045-5AC0708EA191}" srcId="{9B50AE85-DEA1-41F3-9C2C-24A18069C473}" destId="{82968BA3-DFCC-4B51-ABB1-F1F4791698B0}" srcOrd="0" destOrd="0" parTransId="{B474C1A9-9141-4567-8AA6-A8446206794E}" sibTransId="{8BC987EC-BEB5-4480-B241-99E630336DA8}"/>
    <dgm:cxn modelId="{EC587711-ACD4-4F51-8C68-75F74122D646}" srcId="{EB669B84-D831-472E-8265-7F6B80F86771}" destId="{D5856258-F280-4E16-A28B-15CF6E1AFEB7}" srcOrd="1" destOrd="0" parTransId="{1EEE901F-8E72-4352-8972-7A46D498C66C}" sibTransId="{17B22DC4-5E95-4DC5-8561-3B2811A880BA}"/>
    <dgm:cxn modelId="{742B2F25-3AED-4954-BD4F-1FDF79DDCA21}" srcId="{C6E2AF98-3D29-4F20-90C1-F2616A2BA391}" destId="{4B211E86-8549-4668-9287-33F3BF494892}" srcOrd="0" destOrd="0" parTransId="{4326D417-D206-44B8-B33B-3CD880717CC5}" sibTransId="{F074AA35-F351-445D-B33E-E7F96E48F06D}"/>
    <dgm:cxn modelId="{AF0AB629-A8CF-4BAD-AC32-F3314AAB49D2}" type="presOf" srcId="{4B9AA3B3-3278-480D-B258-2253239B0310}" destId="{35D163A5-5DA1-455B-8FC7-D95ED674E5B1}" srcOrd="0" destOrd="0" presId="urn:microsoft.com/office/officeart/2016/7/layout/RoundedRectangleTimeline"/>
    <dgm:cxn modelId="{61C5C12B-09B0-442A-8DCE-B5C3F858CCA6}" type="presOf" srcId="{1DC39BEA-60F0-4132-AC99-BEEA304523BF}" destId="{30007589-79AA-436B-A521-6A689039C51A}" srcOrd="0" destOrd="0" presId="urn:microsoft.com/office/officeart/2016/7/layout/RoundedRectangleTimeline"/>
    <dgm:cxn modelId="{AED1CC2F-C2A3-4A40-80FC-0F8E1651414C}" type="presOf" srcId="{A86DFA04-31EF-49B6-AFAE-2287858E0303}" destId="{EBEA9F54-7364-45F9-829B-BF1EB38AEB12}" srcOrd="0" destOrd="0" presId="urn:microsoft.com/office/officeart/2016/7/layout/RoundedRectangleTimeline"/>
    <dgm:cxn modelId="{EF84E02F-27C5-40D4-8B47-EAA9CDD94ECD}" type="presOf" srcId="{790F952A-B031-4F94-B816-663437DAF0FC}" destId="{A3F43FEA-0834-48CC-80D2-F9C98EE38C24}" srcOrd="0" destOrd="0" presId="urn:microsoft.com/office/officeart/2016/7/layout/RoundedRectangleTimeline"/>
    <dgm:cxn modelId="{BFCD0633-6B19-48A4-84DD-A3EB38EE53C7}" srcId="{501DC69F-43F9-4B1E-BE22-6D9FA0AFC528}" destId="{DB8E56EC-31DA-452B-B3AB-E444B9C926B2}" srcOrd="0" destOrd="0" parTransId="{510A8558-D02B-485D-9C0C-F74C901E1840}" sibTransId="{CA572843-A5C5-48B0-88E9-7285A311EC39}"/>
    <dgm:cxn modelId="{4DDC1633-8FDA-4652-8F6E-B33F74D289A1}" type="presOf" srcId="{6B7869AD-54CD-443E-9269-95A6919010E7}" destId="{6014BCA6-091B-4DF5-97E7-59AAC2BED10A}" srcOrd="0" destOrd="0" presId="urn:microsoft.com/office/officeart/2016/7/layout/RoundedRectangleTimeline"/>
    <dgm:cxn modelId="{24EFCD37-130F-4893-B5D1-0AAF8D6463C5}" srcId="{A86DFA04-31EF-49B6-AFAE-2287858E0303}" destId="{1DC39BEA-60F0-4132-AC99-BEEA304523BF}" srcOrd="12" destOrd="0" parTransId="{9AD10D30-E661-4F80-ABC8-BDC53D55F705}" sibTransId="{46DA01C3-558D-4574-BFBD-F1B7967D52E6}"/>
    <dgm:cxn modelId="{0E719E5B-3D8B-44D1-9A7F-38742818F093}" type="presOf" srcId="{0EAF9DB4-80D6-4968-8882-3B4E6FDB3358}" destId="{8105213B-9B2C-4D83-9F1B-EF70780348BA}" srcOrd="0" destOrd="0" presId="urn:microsoft.com/office/officeart/2016/7/layout/RoundedRectangleTimeline"/>
    <dgm:cxn modelId="{ABC73241-1CCC-44E1-938D-FC54149409CD}" type="presOf" srcId="{4ABF6AF7-0864-4B5C-A8F5-F8C8F5AF8089}" destId="{59A32783-E754-41E3-A740-899075907B5D}" srcOrd="0" destOrd="0" presId="urn:microsoft.com/office/officeart/2016/7/layout/RoundedRectangleTimeline"/>
    <dgm:cxn modelId="{5E831848-AE5C-42C2-A40B-084B843702E0}" type="presOf" srcId="{EC4193C5-90F7-4B5E-B459-F222F1141A8B}" destId="{99A514BB-3884-415F-9CF1-B656D28B290D}" srcOrd="0" destOrd="0" presId="urn:microsoft.com/office/officeart/2016/7/layout/RoundedRectangleTimeline"/>
    <dgm:cxn modelId="{3AE0DE71-A80D-4FF6-AF8F-EB2B966BDE44}" type="presOf" srcId="{D5856258-F280-4E16-A28B-15CF6E1AFEB7}" destId="{8105213B-9B2C-4D83-9F1B-EF70780348BA}" srcOrd="0" destOrd="1" presId="urn:microsoft.com/office/officeart/2016/7/layout/RoundedRectangleTimeline"/>
    <dgm:cxn modelId="{F2501672-9EEE-4673-824B-ACF028ED800E}" type="presOf" srcId="{D8FCE50B-8057-456A-B2A9-965F28038B25}" destId="{9511AAD5-7310-4E62-80E4-23999FD38C38}" srcOrd="0" destOrd="0" presId="urn:microsoft.com/office/officeart/2016/7/layout/RoundedRectangleTimeline"/>
    <dgm:cxn modelId="{F66D5C52-40F8-445D-889A-E98E645997DC}" srcId="{EB669B84-D831-472E-8265-7F6B80F86771}" destId="{0EAF9DB4-80D6-4968-8882-3B4E6FDB3358}" srcOrd="0" destOrd="0" parTransId="{4D566221-3A20-4E01-8B43-6B03A97A4B32}" sibTransId="{982A3015-BCD0-486F-994D-D0CDE0B3EE79}"/>
    <dgm:cxn modelId="{1CBB0F56-2A16-469E-B30F-2E05729C9C4B}" srcId="{B157653D-2397-47E3-94A8-8E8B13726408}" destId="{CFC6C321-565B-4736-9600-0849B35804F7}" srcOrd="0" destOrd="0" parTransId="{E16317D1-6F50-4823-97B7-A2996F0FE94D}" sibTransId="{E552DB50-1B67-4762-89F9-7D3490111E2B}"/>
    <dgm:cxn modelId="{CB337F57-3D9B-4DC3-A1AA-0E3B166CF25E}" srcId="{B1B3E8EA-6D43-41DC-BD78-4269FD9496EA}" destId="{58868217-61C2-4EE0-A5D1-C49F02B160C9}" srcOrd="0" destOrd="0" parTransId="{206EB178-67A3-4DD3-8895-73A34E7DE2B4}" sibTransId="{00CFEFD0-C3BE-456D-A872-C2E52A68E3A3}"/>
    <dgm:cxn modelId="{EBAC617A-8B63-44C6-817B-238A3F56C237}" srcId="{A86DFA04-31EF-49B6-AFAE-2287858E0303}" destId="{7204F8F5-AE18-4381-B325-4BC1DC9E0188}" srcOrd="6" destOrd="0" parTransId="{B060C00C-79D4-4C1D-B86F-2C33A494DC4C}" sibTransId="{6187C5A8-7261-419F-848E-A04D6CDCC1BD}"/>
    <dgm:cxn modelId="{0E1EDA7D-4EF8-4B4A-955C-D5280AB9540D}" type="presOf" srcId="{501DC69F-43F9-4B1E-BE22-6D9FA0AFC528}" destId="{70073129-181E-4CDA-8814-F1E5000C8C53}" srcOrd="0" destOrd="0" presId="urn:microsoft.com/office/officeart/2016/7/layout/RoundedRectangleTimeline"/>
    <dgm:cxn modelId="{D3EFE38B-1F00-41FD-8745-9CC7FE689B57}" type="presOf" srcId="{9B50AE85-DEA1-41F3-9C2C-24A18069C473}" destId="{DF71F57E-D542-4163-95B1-92B1B114497F}" srcOrd="0" destOrd="0" presId="urn:microsoft.com/office/officeart/2016/7/layout/RoundedRectangleTimeline"/>
    <dgm:cxn modelId="{20D8CE92-2D07-4A59-B821-9D12C4FCA392}" type="presOf" srcId="{B157653D-2397-47E3-94A8-8E8B13726408}" destId="{C0D22B8F-54BF-4FAE-9F7C-B58FA74468D0}" srcOrd="0" destOrd="0" presId="urn:microsoft.com/office/officeart/2016/7/layout/RoundedRectangleTimeline"/>
    <dgm:cxn modelId="{9A941A94-CB23-49A0-BE89-AB7F9F0714FD}" srcId="{A86DFA04-31EF-49B6-AFAE-2287858E0303}" destId="{790F952A-B031-4F94-B816-663437DAF0FC}" srcOrd="9" destOrd="0" parTransId="{1480AA26-873B-421D-8D40-BD32C49F9990}" sibTransId="{52618CA3-9F71-48A9-9A9D-3405228F7A50}"/>
    <dgm:cxn modelId="{7031BA94-3965-4B22-9C34-B8198008A46E}" srcId="{D8FCE50B-8057-456A-B2A9-965F28038B25}" destId="{5511D698-E569-4B43-AC33-85C74561D308}" srcOrd="0" destOrd="0" parTransId="{1B03E5BB-1E39-4965-A8FB-84C1B0269AA1}" sibTransId="{92A27EF9-F82D-4D1D-AE38-C56F36DBA320}"/>
    <dgm:cxn modelId="{07B3E394-924A-4E99-AC7E-5E7641F79E97}" type="presOf" srcId="{CFC6C321-565B-4736-9600-0849B35804F7}" destId="{E1F35975-00CA-4B74-AB7C-CD8812C99AEF}" srcOrd="0" destOrd="0" presId="urn:microsoft.com/office/officeart/2016/7/layout/RoundedRectangleTimeline"/>
    <dgm:cxn modelId="{238B4E96-E0E9-47A1-AB91-858EAD77FB85}" type="presOf" srcId="{4B211E86-8549-4668-9287-33F3BF494892}" destId="{EDF83352-8452-4060-95B2-861797E1B118}" srcOrd="0" destOrd="0" presId="urn:microsoft.com/office/officeart/2016/7/layout/RoundedRectangleTimeline"/>
    <dgm:cxn modelId="{1B116D97-2E88-4734-A058-C5E5F144A603}" type="presOf" srcId="{5511D698-E569-4B43-AC33-85C74561D308}" destId="{EA8C2C57-BE56-4D05-A8E8-A96AD56903AD}" srcOrd="0" destOrd="0" presId="urn:microsoft.com/office/officeart/2016/7/layout/RoundedRectangleTimeline"/>
    <dgm:cxn modelId="{A4CE7A9B-B015-4E32-A86C-C3A08970D2FB}" srcId="{A86DFA04-31EF-49B6-AFAE-2287858E0303}" destId="{9B50AE85-DEA1-41F3-9C2C-24A18069C473}" srcOrd="1" destOrd="0" parTransId="{20A9B789-9B22-478C-970C-71496754809B}" sibTransId="{12A4AEA8-BC1D-4ADD-8236-A533A455F22E}"/>
    <dgm:cxn modelId="{9A519C9B-CAC4-47C1-8472-1A69AC623D14}" srcId="{A86DFA04-31EF-49B6-AFAE-2287858E0303}" destId="{C6E2AF98-3D29-4F20-90C1-F2616A2BA391}" srcOrd="11" destOrd="0" parTransId="{7AD75A5D-3996-4FD9-BA24-A631E9BE127C}" sibTransId="{03237CE1-77D0-455D-A056-459A81F9D14A}"/>
    <dgm:cxn modelId="{982A859C-621C-496A-B5B1-809BF0EAD0BA}" srcId="{A86DFA04-31EF-49B6-AFAE-2287858E0303}" destId="{FE2BFC9E-28A7-4E83-91F6-BF69B631EFC2}" srcOrd="4" destOrd="0" parTransId="{F9E26661-CEEE-442F-8382-969C50B7853A}" sibTransId="{026D27EE-1A43-43D1-A6A3-FAD15379FE0D}"/>
    <dgm:cxn modelId="{993CDB9E-B8D2-41CF-8B58-6E417CA03C7C}" srcId="{A86DFA04-31EF-49B6-AFAE-2287858E0303}" destId="{EB669B84-D831-472E-8265-7F6B80F86771}" srcOrd="0" destOrd="0" parTransId="{3A1AD888-7B9D-4FA2-9DBD-890600BE47AE}" sibTransId="{ED806E8B-4FE0-424B-B797-EC7AE4582E63}"/>
    <dgm:cxn modelId="{9A93F29F-AF59-449A-9BE9-DE4121F4926F}" srcId="{A86DFA04-31EF-49B6-AFAE-2287858E0303}" destId="{B1B3E8EA-6D43-41DC-BD78-4269FD9496EA}" srcOrd="10" destOrd="0" parTransId="{B234EFB1-E72E-4B95-A26C-943E266604C5}" sibTransId="{D96DA5E8-1C26-4D3C-A796-DDBB59CD1E40}"/>
    <dgm:cxn modelId="{EDC724A1-0694-484F-A5C6-537B94888740}" type="presOf" srcId="{7204F8F5-AE18-4381-B325-4BC1DC9E0188}" destId="{DF5C0733-0330-4F0C-98AC-84AB3750ECBB}" srcOrd="0" destOrd="0" presId="urn:microsoft.com/office/officeart/2016/7/layout/RoundedRectangleTimeline"/>
    <dgm:cxn modelId="{539827BA-2501-46AE-9D60-86E2354657B0}" srcId="{7204F8F5-AE18-4381-B325-4BC1DC9E0188}" destId="{2DAF204C-62BE-4275-90C2-E2BE04ACB40B}" srcOrd="0" destOrd="0" parTransId="{2CD033F6-E519-4A4F-A373-50C274EEFD0D}" sibTransId="{6097F5D4-445D-426B-AE34-156B15A15DF8}"/>
    <dgm:cxn modelId="{986845BD-6141-4EFF-AB34-2460068237ED}" srcId="{790F952A-B031-4F94-B816-663437DAF0FC}" destId="{EC4193C5-90F7-4B5E-B459-F222F1141A8B}" srcOrd="0" destOrd="0" parTransId="{2891D3E8-3FC5-4A66-8BCF-0B45BCCA3E6E}" sibTransId="{07EB5D72-EABD-4321-AA32-DC14AC2F576F}"/>
    <dgm:cxn modelId="{F235FFC0-0C82-4023-94FA-6CD714E3779D}" type="presOf" srcId="{B796DF0F-C0A1-460D-8148-4EF47476B8E1}" destId="{A5772133-2920-42B6-83BA-4A8604008EBB}" srcOrd="0" destOrd="0" presId="urn:microsoft.com/office/officeart/2016/7/layout/RoundedRectangleTimeline"/>
    <dgm:cxn modelId="{660A76C8-6A99-4BEF-B8E8-FF87C366E9DE}" type="presOf" srcId="{3180D3BD-BB02-4168-A902-75926E95388B}" destId="{9EB9A4EB-2FF2-4800-8AEA-CFD8C2B65D17}" srcOrd="0" destOrd="0" presId="urn:microsoft.com/office/officeart/2016/7/layout/RoundedRectangleTimeline"/>
    <dgm:cxn modelId="{A806B7CE-21FE-461E-BDE2-66896CB988C1}" type="presOf" srcId="{C6E2AF98-3D29-4F20-90C1-F2616A2BA391}" destId="{14B5A3E7-B3DC-4CB4-A581-7C6D150CD4CE}" srcOrd="0" destOrd="0" presId="urn:microsoft.com/office/officeart/2016/7/layout/RoundedRectangleTimeline"/>
    <dgm:cxn modelId="{110F2ED0-19D7-41D2-B9AC-7040A0ACE34F}" srcId="{6B7869AD-54CD-443E-9269-95A6919010E7}" destId="{3180D3BD-BB02-4168-A902-75926E95388B}" srcOrd="0" destOrd="0" parTransId="{2EFAE699-FD95-4081-B19C-734A9E8BFAFC}" sibTransId="{76E32D02-E289-4905-A451-A1A2B73A920D}"/>
    <dgm:cxn modelId="{4FA351D0-C55B-496F-95F2-F394B5521FEF}" type="presOf" srcId="{FE2BFC9E-28A7-4E83-91F6-BF69B631EFC2}" destId="{8108F8EA-63BF-43CD-9F06-FAB14DD36490}" srcOrd="0" destOrd="0" presId="urn:microsoft.com/office/officeart/2016/7/layout/RoundedRectangleTimeline"/>
    <dgm:cxn modelId="{FD7BE0D2-1C92-4C32-86CA-B1D0C6914773}" srcId="{A86DFA04-31EF-49B6-AFAE-2287858E0303}" destId="{6B7869AD-54CD-443E-9269-95A6919010E7}" srcOrd="3" destOrd="0" parTransId="{10BFAE19-F378-4635-9658-F970608DD644}" sibTransId="{8910EF4A-60A7-4962-B3C4-BCBEBE91F592}"/>
    <dgm:cxn modelId="{EBD574D3-6AF8-4424-8A52-77A31283601E}" type="presOf" srcId="{58868217-61C2-4EE0-A5D1-C49F02B160C9}" destId="{C3DFA74F-3365-4D08-A010-707AAD545814}" srcOrd="0" destOrd="0" presId="urn:microsoft.com/office/officeart/2016/7/layout/RoundedRectangleTimeline"/>
    <dgm:cxn modelId="{DF261EDC-47BD-4439-9413-8C75A0422880}" srcId="{B796DF0F-C0A1-460D-8148-4EF47476B8E1}" destId="{4B9AA3B3-3278-480D-B258-2253239B0310}" srcOrd="0" destOrd="0" parTransId="{51E0859B-2B47-48C5-AFA5-813B89C3B27D}" sibTransId="{307131C0-C86E-4498-94C7-726566E3C37E}"/>
    <dgm:cxn modelId="{547495DD-5937-47F7-B951-3099C0EE993C}" srcId="{A86DFA04-31EF-49B6-AFAE-2287858E0303}" destId="{B796DF0F-C0A1-460D-8148-4EF47476B8E1}" srcOrd="8" destOrd="0" parTransId="{1221773B-FB49-4002-8E74-700F74FDAA2E}" sibTransId="{129CFC53-CF53-4B94-9D16-D33B50A0116D}"/>
    <dgm:cxn modelId="{950692EB-01A7-4BA3-A03C-6D1E2A5F26EE}" srcId="{A86DFA04-31EF-49B6-AFAE-2287858E0303}" destId="{B157653D-2397-47E3-94A8-8E8B13726408}" srcOrd="2" destOrd="0" parTransId="{7C340691-872A-42EE-977C-5B833001E6A0}" sibTransId="{C11CD3A4-ED92-4609-A589-8DA6272582F8}"/>
    <dgm:cxn modelId="{3A683BF3-4928-42AF-A50D-CB3728E064F6}" srcId="{FE2BFC9E-28A7-4E83-91F6-BF69B631EFC2}" destId="{C3BCB541-EE96-4138-9EC3-33BA427A5638}" srcOrd="0" destOrd="0" parTransId="{CB2F70A8-58A3-4285-B91D-08D3499D065F}" sibTransId="{D25DA96F-B080-4125-88D9-423935EA6123}"/>
    <dgm:cxn modelId="{970E44F3-62FD-45AC-AB86-B2E658B3FE4D}" srcId="{1DC39BEA-60F0-4132-AC99-BEEA304523BF}" destId="{4ABF6AF7-0864-4B5C-A8F5-F8C8F5AF8089}" srcOrd="0" destOrd="0" parTransId="{9971EBE6-7925-42E1-9F4A-DA7FE5E63224}" sibTransId="{50F17B43-306B-43EC-9FE4-EECFCF8E8E3B}"/>
    <dgm:cxn modelId="{B1F21BF4-D3F4-4BE5-832E-CA59F86E156A}" type="presOf" srcId="{2DAF204C-62BE-4275-90C2-E2BE04ACB40B}" destId="{4ABF3893-110F-49A2-A0B5-F97D554EB502}" srcOrd="0" destOrd="0" presId="urn:microsoft.com/office/officeart/2016/7/layout/RoundedRectangleTimeline"/>
    <dgm:cxn modelId="{80C6FCF7-5FF2-45B8-8C53-BE24286D1B23}" type="presOf" srcId="{DB8E56EC-31DA-452B-B3AB-E444B9C926B2}" destId="{5A20FA73-3A21-4484-9105-C650E9C6EB1C}" srcOrd="0" destOrd="0" presId="urn:microsoft.com/office/officeart/2016/7/layout/RoundedRectangleTimeline"/>
    <dgm:cxn modelId="{0D92A5FB-4214-4CCF-92F3-619B47812E18}" type="presOf" srcId="{B1B3E8EA-6D43-41DC-BD78-4269FD9496EA}" destId="{21FED211-814C-4E2F-BAD3-AFCD9748E3DD}" srcOrd="0" destOrd="0" presId="urn:microsoft.com/office/officeart/2016/7/layout/RoundedRectangleTimeline"/>
    <dgm:cxn modelId="{A1DD0BFE-1A98-40AA-BB60-9659ADA72CA3}" srcId="{A86DFA04-31EF-49B6-AFAE-2287858E0303}" destId="{501DC69F-43F9-4B1E-BE22-6D9FA0AFC528}" srcOrd="5" destOrd="0" parTransId="{D662275D-EF71-4EF0-8C53-5B09830A2AA4}" sibTransId="{05A1C2F3-0854-4F17-AD49-F6E4F5029DC1}"/>
    <dgm:cxn modelId="{D9D51CFE-E223-4A82-83D4-CCF2F6A69193}" type="presOf" srcId="{82968BA3-DFCC-4B51-ABB1-F1F4791698B0}" destId="{C0317DA2-D763-4621-9680-990E0F78E293}" srcOrd="0" destOrd="0" presId="urn:microsoft.com/office/officeart/2016/7/layout/RoundedRectangleTimeline"/>
    <dgm:cxn modelId="{D3D5DDFE-3C40-4FB4-A2D6-AF320BE8808D}" srcId="{A86DFA04-31EF-49B6-AFAE-2287858E0303}" destId="{D8FCE50B-8057-456A-B2A9-965F28038B25}" srcOrd="7" destOrd="0" parTransId="{D5DFEBC1-CD5A-4769-8915-305975D67145}" sibTransId="{338B3E43-3652-4902-AE82-69646DE76CA7}"/>
    <dgm:cxn modelId="{D403E6DE-7780-4760-9222-FAF55FAA6449}" type="presParOf" srcId="{EBEA9F54-7364-45F9-829B-BF1EB38AEB12}" destId="{995E51C8-ABB7-4396-BADB-921767E04C1A}" srcOrd="0" destOrd="0" presId="urn:microsoft.com/office/officeart/2016/7/layout/RoundedRectangleTimeline"/>
    <dgm:cxn modelId="{0AFDC720-6BAC-42CD-A3FC-A736836E6AEF}" type="presParOf" srcId="{995E51C8-ABB7-4396-BADB-921767E04C1A}" destId="{C6A9158A-BBFA-4DED-813A-1F0F318FE29F}" srcOrd="0" destOrd="0" presId="urn:microsoft.com/office/officeart/2016/7/layout/RoundedRectangleTimeline"/>
    <dgm:cxn modelId="{8B481E7D-7B70-4CBC-8DF1-9C517B83FBF0}" type="presParOf" srcId="{995E51C8-ABB7-4396-BADB-921767E04C1A}" destId="{8105213B-9B2C-4D83-9F1B-EF70780348BA}" srcOrd="1" destOrd="0" presId="urn:microsoft.com/office/officeart/2016/7/layout/RoundedRectangleTimeline"/>
    <dgm:cxn modelId="{1669E34F-92E7-4BF6-AF64-E91FEBCC528D}" type="presParOf" srcId="{995E51C8-ABB7-4396-BADB-921767E04C1A}" destId="{7102E1E0-B7C3-4F76-9491-A3B3966921CA}" srcOrd="2" destOrd="0" presId="urn:microsoft.com/office/officeart/2016/7/layout/RoundedRectangleTimeline"/>
    <dgm:cxn modelId="{0B5B73CF-5A86-4838-A527-5ABC376BBF68}" type="presParOf" srcId="{995E51C8-ABB7-4396-BADB-921767E04C1A}" destId="{DD1A325B-39E0-401C-8088-588A028688CE}" srcOrd="3" destOrd="0" presId="urn:microsoft.com/office/officeart/2016/7/layout/RoundedRectangleTimeline"/>
    <dgm:cxn modelId="{47F7BC04-C0B0-4C98-8DE1-F8016A123C6D}" type="presParOf" srcId="{995E51C8-ABB7-4396-BADB-921767E04C1A}" destId="{F5651F38-BA2C-4413-9222-4693F958F28F}" srcOrd="4" destOrd="0" presId="urn:microsoft.com/office/officeart/2016/7/layout/RoundedRectangleTimeline"/>
    <dgm:cxn modelId="{6E31BF25-BBA0-4CE1-9EA6-A8316B0DF7E7}" type="presParOf" srcId="{EBEA9F54-7364-45F9-829B-BF1EB38AEB12}" destId="{FAB4E4F9-F125-48C6-8D09-CED9C80D9184}" srcOrd="1" destOrd="0" presId="urn:microsoft.com/office/officeart/2016/7/layout/RoundedRectangleTimeline"/>
    <dgm:cxn modelId="{0B356D49-6E5B-4D1B-9DF3-8C8796EB99C0}" type="presParOf" srcId="{EBEA9F54-7364-45F9-829B-BF1EB38AEB12}" destId="{E5ACC412-2FBD-44C2-9121-B3EB973E5C66}" srcOrd="2" destOrd="0" presId="urn:microsoft.com/office/officeart/2016/7/layout/RoundedRectangleTimeline"/>
    <dgm:cxn modelId="{98BC8EED-0ABE-422F-B29A-3ED95FF46EFB}" type="presParOf" srcId="{E5ACC412-2FBD-44C2-9121-B3EB973E5C66}" destId="{DF71F57E-D542-4163-95B1-92B1B114497F}" srcOrd="0" destOrd="0" presId="urn:microsoft.com/office/officeart/2016/7/layout/RoundedRectangleTimeline"/>
    <dgm:cxn modelId="{3E6A0A2E-7FD7-4D2A-9BE8-7BD77F03C14F}" type="presParOf" srcId="{E5ACC412-2FBD-44C2-9121-B3EB973E5C66}" destId="{C0317DA2-D763-4621-9680-990E0F78E293}" srcOrd="1" destOrd="0" presId="urn:microsoft.com/office/officeart/2016/7/layout/RoundedRectangleTimeline"/>
    <dgm:cxn modelId="{0B3596E0-515C-452C-9014-28FFDCCDDC30}" type="presParOf" srcId="{E5ACC412-2FBD-44C2-9121-B3EB973E5C66}" destId="{6898D4C1-54F6-4DA4-9607-F444437C8E6E}" srcOrd="2" destOrd="0" presId="urn:microsoft.com/office/officeart/2016/7/layout/RoundedRectangleTimeline"/>
    <dgm:cxn modelId="{A9CDED32-40A9-4681-998E-34C3D4205E5A}" type="presParOf" srcId="{E5ACC412-2FBD-44C2-9121-B3EB973E5C66}" destId="{D73D486C-1D43-4208-9FD9-CC7C2550C1E8}" srcOrd="3" destOrd="0" presId="urn:microsoft.com/office/officeart/2016/7/layout/RoundedRectangleTimeline"/>
    <dgm:cxn modelId="{DD500D97-82E3-4291-AEFC-BB11144A370A}" type="presParOf" srcId="{E5ACC412-2FBD-44C2-9121-B3EB973E5C66}" destId="{4E7CBB81-AC5E-4EE7-85AC-B9C4581F507F}" srcOrd="4" destOrd="0" presId="urn:microsoft.com/office/officeart/2016/7/layout/RoundedRectangleTimeline"/>
    <dgm:cxn modelId="{98F4C3E3-20C5-4A44-BEE5-9E6A1994D4A9}" type="presParOf" srcId="{EBEA9F54-7364-45F9-829B-BF1EB38AEB12}" destId="{CDBD900D-671A-4B7A-AEE1-255109BAB918}" srcOrd="3" destOrd="0" presId="urn:microsoft.com/office/officeart/2016/7/layout/RoundedRectangleTimeline"/>
    <dgm:cxn modelId="{906CE25D-DEB5-4FF4-B3E7-B535A09C4800}" type="presParOf" srcId="{EBEA9F54-7364-45F9-829B-BF1EB38AEB12}" destId="{53484DED-F74E-4B4E-9E8B-3F206A29DEDD}" srcOrd="4" destOrd="0" presId="urn:microsoft.com/office/officeart/2016/7/layout/RoundedRectangleTimeline"/>
    <dgm:cxn modelId="{C121F15A-106A-4BA1-8EB3-21EE5F076F38}" type="presParOf" srcId="{53484DED-F74E-4B4E-9E8B-3F206A29DEDD}" destId="{C0D22B8F-54BF-4FAE-9F7C-B58FA74468D0}" srcOrd="0" destOrd="0" presId="urn:microsoft.com/office/officeart/2016/7/layout/RoundedRectangleTimeline"/>
    <dgm:cxn modelId="{FCB5CE0B-9A2C-4322-BFF2-92950AB09EDC}" type="presParOf" srcId="{53484DED-F74E-4B4E-9E8B-3F206A29DEDD}" destId="{E1F35975-00CA-4B74-AB7C-CD8812C99AEF}" srcOrd="1" destOrd="0" presId="urn:microsoft.com/office/officeart/2016/7/layout/RoundedRectangleTimeline"/>
    <dgm:cxn modelId="{8E1DD684-43F5-420F-BDC1-6AC747B39489}" type="presParOf" srcId="{53484DED-F74E-4B4E-9E8B-3F206A29DEDD}" destId="{152FB453-AA1C-4C6D-86AE-2A7A4BF73B8B}" srcOrd="2" destOrd="0" presId="urn:microsoft.com/office/officeart/2016/7/layout/RoundedRectangleTimeline"/>
    <dgm:cxn modelId="{1FE8405A-8A3D-49CC-8443-BD7EDEE12D2D}" type="presParOf" srcId="{53484DED-F74E-4B4E-9E8B-3F206A29DEDD}" destId="{BC9CEA29-8429-48CF-B30A-81626D4345E2}" srcOrd="3" destOrd="0" presId="urn:microsoft.com/office/officeart/2016/7/layout/RoundedRectangleTimeline"/>
    <dgm:cxn modelId="{61A8D5D7-F9FB-46B1-9FA0-B816AAA1D2DF}" type="presParOf" srcId="{53484DED-F74E-4B4E-9E8B-3F206A29DEDD}" destId="{F432CF4A-CFEA-4E45-BD59-26AD14D60A5D}" srcOrd="4" destOrd="0" presId="urn:microsoft.com/office/officeart/2016/7/layout/RoundedRectangleTimeline"/>
    <dgm:cxn modelId="{D5ECEB2B-0737-441C-8D3C-9681F5E73DC1}" type="presParOf" srcId="{EBEA9F54-7364-45F9-829B-BF1EB38AEB12}" destId="{54C24B14-3382-4169-9932-5867C1A9873B}" srcOrd="5" destOrd="0" presId="urn:microsoft.com/office/officeart/2016/7/layout/RoundedRectangleTimeline"/>
    <dgm:cxn modelId="{1269D6A6-B3C1-4A42-838F-69409D18913F}" type="presParOf" srcId="{EBEA9F54-7364-45F9-829B-BF1EB38AEB12}" destId="{A0BEAC25-FD2E-4FCC-B803-03E10BF445B9}" srcOrd="6" destOrd="0" presId="urn:microsoft.com/office/officeart/2016/7/layout/RoundedRectangleTimeline"/>
    <dgm:cxn modelId="{B6442E6D-AA11-42C3-B73F-157EBCDC2D5B}" type="presParOf" srcId="{A0BEAC25-FD2E-4FCC-B803-03E10BF445B9}" destId="{6014BCA6-091B-4DF5-97E7-59AAC2BED10A}" srcOrd="0" destOrd="0" presId="urn:microsoft.com/office/officeart/2016/7/layout/RoundedRectangleTimeline"/>
    <dgm:cxn modelId="{9AA1727C-1F74-4F3A-A407-50C9D1B23933}" type="presParOf" srcId="{A0BEAC25-FD2E-4FCC-B803-03E10BF445B9}" destId="{9EB9A4EB-2FF2-4800-8AEA-CFD8C2B65D17}" srcOrd="1" destOrd="0" presId="urn:microsoft.com/office/officeart/2016/7/layout/RoundedRectangleTimeline"/>
    <dgm:cxn modelId="{1A34A4FD-FFB1-42E4-8618-487641D0D494}" type="presParOf" srcId="{A0BEAC25-FD2E-4FCC-B803-03E10BF445B9}" destId="{8AE213BA-D8A5-421E-9FDD-0DB9C17245FC}" srcOrd="2" destOrd="0" presId="urn:microsoft.com/office/officeart/2016/7/layout/RoundedRectangleTimeline"/>
    <dgm:cxn modelId="{495D8439-1604-4B3C-88B2-2B5A782B516F}" type="presParOf" srcId="{A0BEAC25-FD2E-4FCC-B803-03E10BF445B9}" destId="{EFA63A6B-0A79-485D-8352-11725A980252}" srcOrd="3" destOrd="0" presId="urn:microsoft.com/office/officeart/2016/7/layout/RoundedRectangleTimeline"/>
    <dgm:cxn modelId="{7625CC27-6A8B-4F09-A2D3-2C2B0820C46A}" type="presParOf" srcId="{A0BEAC25-FD2E-4FCC-B803-03E10BF445B9}" destId="{52EF08A6-1E5D-43DE-A28A-986FAA800161}" srcOrd="4" destOrd="0" presId="urn:microsoft.com/office/officeart/2016/7/layout/RoundedRectangleTimeline"/>
    <dgm:cxn modelId="{CB31F795-901F-4600-9C68-D8D66FC1C56C}" type="presParOf" srcId="{EBEA9F54-7364-45F9-829B-BF1EB38AEB12}" destId="{92B24F9B-F249-4D79-8F70-2AA68443C59C}" srcOrd="7" destOrd="0" presId="urn:microsoft.com/office/officeart/2016/7/layout/RoundedRectangleTimeline"/>
    <dgm:cxn modelId="{D08F3383-5494-449F-B5D3-51A7712CC5A7}" type="presParOf" srcId="{EBEA9F54-7364-45F9-829B-BF1EB38AEB12}" destId="{24399930-1F33-4594-AEB1-B9A640A7372D}" srcOrd="8" destOrd="0" presId="urn:microsoft.com/office/officeart/2016/7/layout/RoundedRectangleTimeline"/>
    <dgm:cxn modelId="{F8535629-BB65-41B4-BECD-1C626377C038}" type="presParOf" srcId="{24399930-1F33-4594-AEB1-B9A640A7372D}" destId="{8108F8EA-63BF-43CD-9F06-FAB14DD36490}" srcOrd="0" destOrd="0" presId="urn:microsoft.com/office/officeart/2016/7/layout/RoundedRectangleTimeline"/>
    <dgm:cxn modelId="{CE9777DE-8685-4D82-BF00-310B6AE4CA17}" type="presParOf" srcId="{24399930-1F33-4594-AEB1-B9A640A7372D}" destId="{EFA4158A-9CA8-4D33-A149-EB6110EA1269}" srcOrd="1" destOrd="0" presId="urn:microsoft.com/office/officeart/2016/7/layout/RoundedRectangleTimeline"/>
    <dgm:cxn modelId="{1BA078EB-6DF6-450A-BC80-18E932E33472}" type="presParOf" srcId="{24399930-1F33-4594-AEB1-B9A640A7372D}" destId="{12E85994-A1B7-4E08-899B-1A49312F5B21}" srcOrd="2" destOrd="0" presId="urn:microsoft.com/office/officeart/2016/7/layout/RoundedRectangleTimeline"/>
    <dgm:cxn modelId="{110BC70C-1EAA-4BF1-8496-9E3817F3EA05}" type="presParOf" srcId="{24399930-1F33-4594-AEB1-B9A640A7372D}" destId="{312E90A0-C6A2-413B-8A56-A92B9FC00679}" srcOrd="3" destOrd="0" presId="urn:microsoft.com/office/officeart/2016/7/layout/RoundedRectangleTimeline"/>
    <dgm:cxn modelId="{5E0154A7-E287-4C96-BF3F-62F79C679CB7}" type="presParOf" srcId="{24399930-1F33-4594-AEB1-B9A640A7372D}" destId="{DD643EA6-017D-4B6A-8B17-EA4CE7FEC11C}" srcOrd="4" destOrd="0" presId="urn:microsoft.com/office/officeart/2016/7/layout/RoundedRectangleTimeline"/>
    <dgm:cxn modelId="{3BFE8E2A-5ECE-41D9-8C04-05D6CB444F37}" type="presParOf" srcId="{EBEA9F54-7364-45F9-829B-BF1EB38AEB12}" destId="{83F3D1B6-E79E-4212-AD05-83BED28997E4}" srcOrd="9" destOrd="0" presId="urn:microsoft.com/office/officeart/2016/7/layout/RoundedRectangleTimeline"/>
    <dgm:cxn modelId="{CF6F7C5C-0411-483A-A51D-C5061F50E19E}" type="presParOf" srcId="{EBEA9F54-7364-45F9-829B-BF1EB38AEB12}" destId="{06FAD99D-5FF8-4EBB-A5FB-F041578F76D4}" srcOrd="10" destOrd="0" presId="urn:microsoft.com/office/officeart/2016/7/layout/RoundedRectangleTimeline"/>
    <dgm:cxn modelId="{6DE8BD68-D816-4BB5-B98A-4916CB4E16C2}" type="presParOf" srcId="{06FAD99D-5FF8-4EBB-A5FB-F041578F76D4}" destId="{70073129-181E-4CDA-8814-F1E5000C8C53}" srcOrd="0" destOrd="0" presId="urn:microsoft.com/office/officeart/2016/7/layout/RoundedRectangleTimeline"/>
    <dgm:cxn modelId="{FC7F0BC7-3290-407D-96E2-0249574595BF}" type="presParOf" srcId="{06FAD99D-5FF8-4EBB-A5FB-F041578F76D4}" destId="{5A20FA73-3A21-4484-9105-C650E9C6EB1C}" srcOrd="1" destOrd="0" presId="urn:microsoft.com/office/officeart/2016/7/layout/RoundedRectangleTimeline"/>
    <dgm:cxn modelId="{9EFF1E54-9709-46E0-8DD5-6979BDD49FC7}" type="presParOf" srcId="{06FAD99D-5FF8-4EBB-A5FB-F041578F76D4}" destId="{26F3F9B3-7461-4A61-97B5-AF1F062A6A31}" srcOrd="2" destOrd="0" presId="urn:microsoft.com/office/officeart/2016/7/layout/RoundedRectangleTimeline"/>
    <dgm:cxn modelId="{418CB3FB-CBCA-4137-A09E-CDF1B736ED1D}" type="presParOf" srcId="{06FAD99D-5FF8-4EBB-A5FB-F041578F76D4}" destId="{6AD3676B-B35C-4F1B-B891-E6A623B39C7E}" srcOrd="3" destOrd="0" presId="urn:microsoft.com/office/officeart/2016/7/layout/RoundedRectangleTimeline"/>
    <dgm:cxn modelId="{0F49EE4B-8FEC-4562-A000-799C3B79D0E9}" type="presParOf" srcId="{06FAD99D-5FF8-4EBB-A5FB-F041578F76D4}" destId="{11B4905D-2274-468C-AF2A-5EB9623228BD}" srcOrd="4" destOrd="0" presId="urn:microsoft.com/office/officeart/2016/7/layout/RoundedRectangleTimeline"/>
    <dgm:cxn modelId="{967039AD-4C84-4678-8B8C-2DA21E4046F6}" type="presParOf" srcId="{EBEA9F54-7364-45F9-829B-BF1EB38AEB12}" destId="{BA5551F3-BB68-446A-8242-9B50C869257A}" srcOrd="11" destOrd="0" presId="urn:microsoft.com/office/officeart/2016/7/layout/RoundedRectangleTimeline"/>
    <dgm:cxn modelId="{FA09EEB0-9821-4708-AF88-7808BE242053}" type="presParOf" srcId="{EBEA9F54-7364-45F9-829B-BF1EB38AEB12}" destId="{84094D42-D65E-4975-8FAA-1E707A790A27}" srcOrd="12" destOrd="0" presId="urn:microsoft.com/office/officeart/2016/7/layout/RoundedRectangleTimeline"/>
    <dgm:cxn modelId="{3D095C12-9E06-4CD8-A3F3-62313D18B65B}" type="presParOf" srcId="{84094D42-D65E-4975-8FAA-1E707A790A27}" destId="{DF5C0733-0330-4F0C-98AC-84AB3750ECBB}" srcOrd="0" destOrd="0" presId="urn:microsoft.com/office/officeart/2016/7/layout/RoundedRectangleTimeline"/>
    <dgm:cxn modelId="{030A2ED7-05CE-4F85-B2CC-3719CC065144}" type="presParOf" srcId="{84094D42-D65E-4975-8FAA-1E707A790A27}" destId="{4ABF3893-110F-49A2-A0B5-F97D554EB502}" srcOrd="1" destOrd="0" presId="urn:microsoft.com/office/officeart/2016/7/layout/RoundedRectangleTimeline"/>
    <dgm:cxn modelId="{84028A04-DA7A-4239-984F-1DCC749CB946}" type="presParOf" srcId="{84094D42-D65E-4975-8FAA-1E707A790A27}" destId="{6CBBD92F-DE88-4D85-9025-B32662F65C69}" srcOrd="2" destOrd="0" presId="urn:microsoft.com/office/officeart/2016/7/layout/RoundedRectangleTimeline"/>
    <dgm:cxn modelId="{B605B4A6-EE9C-42DF-A80C-ADCA5EC022BC}" type="presParOf" srcId="{84094D42-D65E-4975-8FAA-1E707A790A27}" destId="{0DC9152C-DC27-40A1-9489-4F5568F0BD0A}" srcOrd="3" destOrd="0" presId="urn:microsoft.com/office/officeart/2016/7/layout/RoundedRectangleTimeline"/>
    <dgm:cxn modelId="{1BD3A016-5B16-4C9C-93C2-27067511788D}" type="presParOf" srcId="{84094D42-D65E-4975-8FAA-1E707A790A27}" destId="{1C5574E8-8F81-4BAC-AD1F-1DC7FB44587E}" srcOrd="4" destOrd="0" presId="urn:microsoft.com/office/officeart/2016/7/layout/RoundedRectangleTimeline"/>
    <dgm:cxn modelId="{5BAC8A7A-DB20-4D40-A855-FB8174F909DD}" type="presParOf" srcId="{EBEA9F54-7364-45F9-829B-BF1EB38AEB12}" destId="{36B4D58D-6309-4414-8F6E-2E0106905827}" srcOrd="13" destOrd="0" presId="urn:microsoft.com/office/officeart/2016/7/layout/RoundedRectangleTimeline"/>
    <dgm:cxn modelId="{3B510F9D-B4C7-4082-A40D-38D8E91EB8E6}" type="presParOf" srcId="{EBEA9F54-7364-45F9-829B-BF1EB38AEB12}" destId="{D075426A-A660-40C5-BFD0-D91B6E8A6DC9}" srcOrd="14" destOrd="0" presId="urn:microsoft.com/office/officeart/2016/7/layout/RoundedRectangleTimeline"/>
    <dgm:cxn modelId="{8EE7785B-9C6C-4939-AF2B-3EBBCB8BA9CF}" type="presParOf" srcId="{D075426A-A660-40C5-BFD0-D91B6E8A6DC9}" destId="{9511AAD5-7310-4E62-80E4-23999FD38C38}" srcOrd="0" destOrd="0" presId="urn:microsoft.com/office/officeart/2016/7/layout/RoundedRectangleTimeline"/>
    <dgm:cxn modelId="{7E087242-C1F9-4B52-92AC-4ABB0C789588}" type="presParOf" srcId="{D075426A-A660-40C5-BFD0-D91B6E8A6DC9}" destId="{EA8C2C57-BE56-4D05-A8E8-A96AD56903AD}" srcOrd="1" destOrd="0" presId="urn:microsoft.com/office/officeart/2016/7/layout/RoundedRectangleTimeline"/>
    <dgm:cxn modelId="{C3A830AF-98BA-4AED-AFFD-54F06DBDFAC4}" type="presParOf" srcId="{D075426A-A660-40C5-BFD0-D91B6E8A6DC9}" destId="{CB9CAB1D-6858-48F5-9C36-F4F7202AA5F2}" srcOrd="2" destOrd="0" presId="urn:microsoft.com/office/officeart/2016/7/layout/RoundedRectangleTimeline"/>
    <dgm:cxn modelId="{F06A233C-C79F-457B-903F-2C8156A30637}" type="presParOf" srcId="{D075426A-A660-40C5-BFD0-D91B6E8A6DC9}" destId="{4F4A4BEC-C32A-41B0-A75D-A154BCB3F11D}" srcOrd="3" destOrd="0" presId="urn:microsoft.com/office/officeart/2016/7/layout/RoundedRectangleTimeline"/>
    <dgm:cxn modelId="{B11EB446-99FF-470E-91D2-1CC9C5D89789}" type="presParOf" srcId="{D075426A-A660-40C5-BFD0-D91B6E8A6DC9}" destId="{52B4541B-523A-4E89-AB23-42FA6AA66929}" srcOrd="4" destOrd="0" presId="urn:microsoft.com/office/officeart/2016/7/layout/RoundedRectangleTimeline"/>
    <dgm:cxn modelId="{ADA78E50-1846-459D-ADA5-65CE26AE570B}" type="presParOf" srcId="{EBEA9F54-7364-45F9-829B-BF1EB38AEB12}" destId="{48DD46E4-FDDF-46C9-881B-2009152E3EFD}" srcOrd="15" destOrd="0" presId="urn:microsoft.com/office/officeart/2016/7/layout/RoundedRectangleTimeline"/>
    <dgm:cxn modelId="{7DB4C038-5D5F-4464-AFC8-C01DD28D62D0}" type="presParOf" srcId="{EBEA9F54-7364-45F9-829B-BF1EB38AEB12}" destId="{00B41129-86DD-4BEC-8442-CE046E584B95}" srcOrd="16" destOrd="0" presId="urn:microsoft.com/office/officeart/2016/7/layout/RoundedRectangleTimeline"/>
    <dgm:cxn modelId="{F43F14E6-B76E-473C-97C0-E351C953FC6E}" type="presParOf" srcId="{00B41129-86DD-4BEC-8442-CE046E584B95}" destId="{A5772133-2920-42B6-83BA-4A8604008EBB}" srcOrd="0" destOrd="0" presId="urn:microsoft.com/office/officeart/2016/7/layout/RoundedRectangleTimeline"/>
    <dgm:cxn modelId="{6BD48907-FEDC-4688-A730-2E10A2D64CA7}" type="presParOf" srcId="{00B41129-86DD-4BEC-8442-CE046E584B95}" destId="{35D163A5-5DA1-455B-8FC7-D95ED674E5B1}" srcOrd="1" destOrd="0" presId="urn:microsoft.com/office/officeart/2016/7/layout/RoundedRectangleTimeline"/>
    <dgm:cxn modelId="{32256865-1D0B-48BF-9329-9A7CD3A2929C}" type="presParOf" srcId="{00B41129-86DD-4BEC-8442-CE046E584B95}" destId="{B07C20D0-A685-450C-8CD9-5FE413095B29}" srcOrd="2" destOrd="0" presId="urn:microsoft.com/office/officeart/2016/7/layout/RoundedRectangleTimeline"/>
    <dgm:cxn modelId="{27A6F822-D93D-4FE5-97F1-29E048699916}" type="presParOf" srcId="{00B41129-86DD-4BEC-8442-CE046E584B95}" destId="{A149D706-E3FE-45C5-978B-34DA458357EE}" srcOrd="3" destOrd="0" presId="urn:microsoft.com/office/officeart/2016/7/layout/RoundedRectangleTimeline"/>
    <dgm:cxn modelId="{D08B73B6-0883-4D6A-8DC9-02A713C39379}" type="presParOf" srcId="{00B41129-86DD-4BEC-8442-CE046E584B95}" destId="{1BA9FD4B-9484-44C5-AA0E-ADB0FEE4A311}" srcOrd="4" destOrd="0" presId="urn:microsoft.com/office/officeart/2016/7/layout/RoundedRectangleTimeline"/>
    <dgm:cxn modelId="{751487C5-B8D2-430B-B392-D49F0E3A90A3}" type="presParOf" srcId="{EBEA9F54-7364-45F9-829B-BF1EB38AEB12}" destId="{ED09C4EF-8FB3-4B64-AEC6-9963E49AAAC2}" srcOrd="17" destOrd="0" presId="urn:microsoft.com/office/officeart/2016/7/layout/RoundedRectangleTimeline"/>
    <dgm:cxn modelId="{7F3461F5-6442-4BBF-B3D1-99312844A491}" type="presParOf" srcId="{EBEA9F54-7364-45F9-829B-BF1EB38AEB12}" destId="{5EA8DCE2-3409-418C-8A3E-6E932421CDB7}" srcOrd="18" destOrd="0" presId="urn:microsoft.com/office/officeart/2016/7/layout/RoundedRectangleTimeline"/>
    <dgm:cxn modelId="{E3D2815B-C1ED-4EAA-830C-C5BA2AB8A4AC}" type="presParOf" srcId="{5EA8DCE2-3409-418C-8A3E-6E932421CDB7}" destId="{A3F43FEA-0834-48CC-80D2-F9C98EE38C24}" srcOrd="0" destOrd="0" presId="urn:microsoft.com/office/officeart/2016/7/layout/RoundedRectangleTimeline"/>
    <dgm:cxn modelId="{3D333DFE-D643-4654-88A9-56B89F95A2C6}" type="presParOf" srcId="{5EA8DCE2-3409-418C-8A3E-6E932421CDB7}" destId="{99A514BB-3884-415F-9CF1-B656D28B290D}" srcOrd="1" destOrd="0" presId="urn:microsoft.com/office/officeart/2016/7/layout/RoundedRectangleTimeline"/>
    <dgm:cxn modelId="{B36A128E-C518-4AF9-8957-DB1D4A917DD9}" type="presParOf" srcId="{5EA8DCE2-3409-418C-8A3E-6E932421CDB7}" destId="{CE6AA003-DA7A-48F0-94CB-282E08E278A7}" srcOrd="2" destOrd="0" presId="urn:microsoft.com/office/officeart/2016/7/layout/RoundedRectangleTimeline"/>
    <dgm:cxn modelId="{4CE8AFD6-47CD-4D3E-99A8-87386D0CF912}" type="presParOf" srcId="{5EA8DCE2-3409-418C-8A3E-6E932421CDB7}" destId="{B0D7B4E5-A949-4B7A-AFBF-23B8671A67B3}" srcOrd="3" destOrd="0" presId="urn:microsoft.com/office/officeart/2016/7/layout/RoundedRectangleTimeline"/>
    <dgm:cxn modelId="{CB928533-9C78-4528-B1EE-9CB3996B199E}" type="presParOf" srcId="{5EA8DCE2-3409-418C-8A3E-6E932421CDB7}" destId="{FF8772B4-1D6E-43D0-9834-E28E56985314}" srcOrd="4" destOrd="0" presId="urn:microsoft.com/office/officeart/2016/7/layout/RoundedRectangleTimeline"/>
    <dgm:cxn modelId="{0D965B65-86A3-4615-B9E9-1599532F91D8}" type="presParOf" srcId="{EBEA9F54-7364-45F9-829B-BF1EB38AEB12}" destId="{8AA7C433-1FE1-4E09-936D-ABA735D1C9A2}" srcOrd="19" destOrd="0" presId="urn:microsoft.com/office/officeart/2016/7/layout/RoundedRectangleTimeline"/>
    <dgm:cxn modelId="{06D8AC3B-8111-4454-B8D0-DFE6D90059E9}" type="presParOf" srcId="{EBEA9F54-7364-45F9-829B-BF1EB38AEB12}" destId="{4BD5FD44-D031-4098-8588-BE6D7B1A2093}" srcOrd="20" destOrd="0" presId="urn:microsoft.com/office/officeart/2016/7/layout/RoundedRectangleTimeline"/>
    <dgm:cxn modelId="{68A0C32F-CDC4-4E58-89D1-857B7C389645}" type="presParOf" srcId="{4BD5FD44-D031-4098-8588-BE6D7B1A2093}" destId="{21FED211-814C-4E2F-BAD3-AFCD9748E3DD}" srcOrd="0" destOrd="0" presId="urn:microsoft.com/office/officeart/2016/7/layout/RoundedRectangleTimeline"/>
    <dgm:cxn modelId="{45393713-8D9E-425B-A136-708E0DD12650}" type="presParOf" srcId="{4BD5FD44-D031-4098-8588-BE6D7B1A2093}" destId="{C3DFA74F-3365-4D08-A010-707AAD545814}" srcOrd="1" destOrd="0" presId="urn:microsoft.com/office/officeart/2016/7/layout/RoundedRectangleTimeline"/>
    <dgm:cxn modelId="{54420F36-2E8E-4AB4-8E30-89CC89CE1D6D}" type="presParOf" srcId="{4BD5FD44-D031-4098-8588-BE6D7B1A2093}" destId="{D9C897B8-FFB6-4C58-B5E5-97F649197DAF}" srcOrd="2" destOrd="0" presId="urn:microsoft.com/office/officeart/2016/7/layout/RoundedRectangleTimeline"/>
    <dgm:cxn modelId="{1E1E723D-208A-4C7C-BE5C-0AEFA967C29E}" type="presParOf" srcId="{4BD5FD44-D031-4098-8588-BE6D7B1A2093}" destId="{7C20B12A-BB34-4A4D-AEAF-438357388139}" srcOrd="3" destOrd="0" presId="urn:microsoft.com/office/officeart/2016/7/layout/RoundedRectangleTimeline"/>
    <dgm:cxn modelId="{A63AB205-1677-4DC7-BEBD-157D26A512C2}" type="presParOf" srcId="{4BD5FD44-D031-4098-8588-BE6D7B1A2093}" destId="{CAD8DA20-56BC-488D-916F-3A6EB904F8BD}" srcOrd="4" destOrd="0" presId="urn:microsoft.com/office/officeart/2016/7/layout/RoundedRectangleTimeline"/>
    <dgm:cxn modelId="{C8A5E557-1869-4653-8C1D-DCD79866202F}" type="presParOf" srcId="{EBEA9F54-7364-45F9-829B-BF1EB38AEB12}" destId="{59052149-4F59-43A5-9D52-29A4842B0F30}" srcOrd="21" destOrd="0" presId="urn:microsoft.com/office/officeart/2016/7/layout/RoundedRectangleTimeline"/>
    <dgm:cxn modelId="{F963B877-5FE5-46FC-B3C2-7E91284EC18C}" type="presParOf" srcId="{EBEA9F54-7364-45F9-829B-BF1EB38AEB12}" destId="{A22EC965-ACC5-4785-A75C-77D42254279B}" srcOrd="22" destOrd="0" presId="urn:microsoft.com/office/officeart/2016/7/layout/RoundedRectangleTimeline"/>
    <dgm:cxn modelId="{465819CD-4618-4CBF-A782-34810BDF8250}" type="presParOf" srcId="{A22EC965-ACC5-4785-A75C-77D42254279B}" destId="{14B5A3E7-B3DC-4CB4-A581-7C6D150CD4CE}" srcOrd="0" destOrd="0" presId="urn:microsoft.com/office/officeart/2016/7/layout/RoundedRectangleTimeline"/>
    <dgm:cxn modelId="{C96CC5B7-DD88-44A5-8067-22B40B3055EC}" type="presParOf" srcId="{A22EC965-ACC5-4785-A75C-77D42254279B}" destId="{EDF83352-8452-4060-95B2-861797E1B118}" srcOrd="1" destOrd="0" presId="urn:microsoft.com/office/officeart/2016/7/layout/RoundedRectangleTimeline"/>
    <dgm:cxn modelId="{6E9617D0-697F-4855-BBB1-C5068970998A}" type="presParOf" srcId="{A22EC965-ACC5-4785-A75C-77D42254279B}" destId="{D5B43AFD-C705-41A3-A3E3-441F9B8F04A8}" srcOrd="2" destOrd="0" presId="urn:microsoft.com/office/officeart/2016/7/layout/RoundedRectangleTimeline"/>
    <dgm:cxn modelId="{B18D0D8F-FA15-4CA6-BAB8-C55E506E1730}" type="presParOf" srcId="{A22EC965-ACC5-4785-A75C-77D42254279B}" destId="{98341798-6BA7-400B-8B04-F7CDB9BF2EB2}" srcOrd="3" destOrd="0" presId="urn:microsoft.com/office/officeart/2016/7/layout/RoundedRectangleTimeline"/>
    <dgm:cxn modelId="{1F1CEEA7-9E72-4998-96D4-B1A1EDECD810}" type="presParOf" srcId="{A22EC965-ACC5-4785-A75C-77D42254279B}" destId="{5F892F3E-C524-4F14-A2FF-15D139A357C4}" srcOrd="4" destOrd="0" presId="urn:microsoft.com/office/officeart/2016/7/layout/RoundedRectangleTimeline"/>
    <dgm:cxn modelId="{ED15DC6A-5CAF-40AC-918A-5FDD46639ACA}" type="presParOf" srcId="{EBEA9F54-7364-45F9-829B-BF1EB38AEB12}" destId="{8FAED3A6-5E58-4A41-9790-C8EBBAA02FD1}" srcOrd="23" destOrd="0" presId="urn:microsoft.com/office/officeart/2016/7/layout/RoundedRectangleTimeline"/>
    <dgm:cxn modelId="{734FDC8C-ACFA-4271-9772-E932814F0AC2}" type="presParOf" srcId="{EBEA9F54-7364-45F9-829B-BF1EB38AEB12}" destId="{0CA4EFEF-5B00-48D9-83A4-0728171DD424}" srcOrd="24" destOrd="0" presId="urn:microsoft.com/office/officeart/2016/7/layout/RoundedRectangleTimeline"/>
    <dgm:cxn modelId="{AD020964-6B14-44E6-BFDE-E93E70BCD055}" type="presParOf" srcId="{0CA4EFEF-5B00-48D9-83A4-0728171DD424}" destId="{30007589-79AA-436B-A521-6A689039C51A}" srcOrd="0" destOrd="0" presId="urn:microsoft.com/office/officeart/2016/7/layout/RoundedRectangleTimeline"/>
    <dgm:cxn modelId="{61C5CC4D-DAE0-4176-8354-F635EBB3FB73}" type="presParOf" srcId="{0CA4EFEF-5B00-48D9-83A4-0728171DD424}" destId="{59A32783-E754-41E3-A740-899075907B5D}" srcOrd="1" destOrd="0" presId="urn:microsoft.com/office/officeart/2016/7/layout/RoundedRectangleTimeline"/>
    <dgm:cxn modelId="{454F85D5-4FCB-419D-A260-261EC859C15A}" type="presParOf" srcId="{0CA4EFEF-5B00-48D9-83A4-0728171DD424}" destId="{75B6C137-0D1A-4352-B5BF-B9BA23D55469}" srcOrd="2" destOrd="0" presId="urn:microsoft.com/office/officeart/2016/7/layout/RoundedRectangleTimeline"/>
    <dgm:cxn modelId="{1823009C-493A-4CFB-8713-FB687B3DF052}" type="presParOf" srcId="{0CA4EFEF-5B00-48D9-83A4-0728171DD424}" destId="{C11AD0F7-1B8E-48E9-85EA-266E1D0C4DC5}" srcOrd="3" destOrd="0" presId="urn:microsoft.com/office/officeart/2016/7/layout/RoundedRectangleTimeline"/>
    <dgm:cxn modelId="{8750F215-372B-4715-9E55-952F05CCD151}" type="presParOf" srcId="{0CA4EFEF-5B00-48D9-83A4-0728171DD424}" destId="{8D018BC3-2F5D-414F-A6B9-1D5B39E668C4}"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6DFA04-31EF-49B6-AFAE-2287858E0303}" type="doc">
      <dgm:prSet loTypeId="urn:microsoft.com/office/officeart/2016/7/layout/RoundedRectangleTimeline" loCatId="process" qsTypeId="urn:microsoft.com/office/officeart/2005/8/quickstyle/simple1" qsCatId="simple" csTypeId="urn:microsoft.com/office/officeart/2005/8/colors/accent1_2" csCatId="accent1" phldr="1"/>
      <dgm:spPr/>
      <dgm:t>
        <a:bodyPr/>
        <a:lstStyle/>
        <a:p>
          <a:endParaRPr lang="en-US"/>
        </a:p>
      </dgm:t>
    </dgm:pt>
    <dgm:pt modelId="{9B50AE85-DEA1-41F3-9C2C-24A18069C473}">
      <dgm:prSet/>
      <dgm:spPr/>
      <dgm:t>
        <a:bodyPr/>
        <a:lstStyle/>
        <a:p>
          <a:r>
            <a:rPr lang="en-US" dirty="0">
              <a:solidFill>
                <a:schemeClr val="tx1"/>
              </a:solidFill>
            </a:rPr>
            <a:t>November 8, 2021</a:t>
          </a:r>
        </a:p>
      </dgm:t>
    </dgm:pt>
    <dgm:pt modelId="{20A9B789-9B22-478C-970C-71496754809B}" type="parTrans" cxnId="{A4CE7A9B-B015-4E32-A86C-C3A08970D2FB}">
      <dgm:prSet/>
      <dgm:spPr/>
      <dgm:t>
        <a:bodyPr/>
        <a:lstStyle/>
        <a:p>
          <a:pPr algn="l"/>
          <a:endParaRPr lang="en-US"/>
        </a:p>
      </dgm:t>
    </dgm:pt>
    <dgm:pt modelId="{12A4AEA8-BC1D-4ADD-8236-A533A455F22E}" type="sibTrans" cxnId="{A4CE7A9B-B015-4E32-A86C-C3A08970D2FB}">
      <dgm:prSet/>
      <dgm:spPr/>
      <dgm:t>
        <a:bodyPr/>
        <a:lstStyle/>
        <a:p>
          <a:endParaRPr lang="en-US"/>
        </a:p>
      </dgm:t>
    </dgm:pt>
    <dgm:pt modelId="{82968BA3-DFCC-4B51-ABB1-F1F4791698B0}">
      <dgm:prSet/>
      <dgm:spPr/>
      <dgm:t>
        <a:bodyPr/>
        <a:lstStyle/>
        <a:p>
          <a:r>
            <a:rPr lang="en-US" dirty="0"/>
            <a:t>Meeting with Bahria Foundation</a:t>
          </a:r>
        </a:p>
        <a:p>
          <a:r>
            <a:rPr lang="en-US" dirty="0"/>
            <a:t>Draft MOU Shared with Department for Approval</a:t>
          </a:r>
        </a:p>
      </dgm:t>
    </dgm:pt>
    <dgm:pt modelId="{B474C1A9-9141-4567-8AA6-A8446206794E}" type="parTrans" cxnId="{E50EA410-61F4-443F-B045-5AC0708EA191}">
      <dgm:prSet/>
      <dgm:spPr/>
      <dgm:t>
        <a:bodyPr/>
        <a:lstStyle/>
        <a:p>
          <a:pPr algn="l"/>
          <a:endParaRPr lang="en-US"/>
        </a:p>
      </dgm:t>
    </dgm:pt>
    <dgm:pt modelId="{8BC987EC-BEB5-4480-B241-99E630336DA8}" type="sibTrans" cxnId="{E50EA410-61F4-443F-B045-5AC0708EA191}">
      <dgm:prSet/>
      <dgm:spPr/>
      <dgm:t>
        <a:bodyPr/>
        <a:lstStyle/>
        <a:p>
          <a:endParaRPr lang="en-US"/>
        </a:p>
      </dgm:t>
    </dgm:pt>
    <dgm:pt modelId="{B157653D-2397-47E3-94A8-8E8B13726408}">
      <dgm:prSet/>
      <dgm:spPr/>
      <dgm:t>
        <a:bodyPr/>
        <a:lstStyle/>
        <a:p>
          <a:r>
            <a:rPr lang="en-US" dirty="0">
              <a:solidFill>
                <a:schemeClr val="tx1"/>
              </a:solidFill>
            </a:rPr>
            <a:t>November, 2021</a:t>
          </a:r>
        </a:p>
      </dgm:t>
    </dgm:pt>
    <dgm:pt modelId="{7C340691-872A-42EE-977C-5B833001E6A0}" type="parTrans" cxnId="{950692EB-01A7-4BA3-A03C-6D1E2A5F26EE}">
      <dgm:prSet/>
      <dgm:spPr/>
      <dgm:t>
        <a:bodyPr/>
        <a:lstStyle/>
        <a:p>
          <a:pPr algn="l"/>
          <a:endParaRPr lang="en-US"/>
        </a:p>
      </dgm:t>
    </dgm:pt>
    <dgm:pt modelId="{C11CD3A4-ED92-4609-A589-8DA6272582F8}" type="sibTrans" cxnId="{950692EB-01A7-4BA3-A03C-6D1E2A5F26EE}">
      <dgm:prSet/>
      <dgm:spPr/>
      <dgm:t>
        <a:bodyPr/>
        <a:lstStyle/>
        <a:p>
          <a:endParaRPr lang="en-US"/>
        </a:p>
      </dgm:t>
    </dgm:pt>
    <dgm:pt modelId="{CFC6C321-565B-4736-9600-0849B35804F7}">
      <dgm:prSet/>
      <dgm:spPr/>
      <dgm:t>
        <a:bodyPr/>
        <a:lstStyle/>
        <a:p>
          <a:r>
            <a:rPr lang="en-US" dirty="0"/>
            <a:t>PMU, Quetta</a:t>
          </a:r>
        </a:p>
        <a:p>
          <a:r>
            <a:rPr lang="en-US" dirty="0"/>
            <a:t>PIU Office, </a:t>
          </a:r>
          <a:r>
            <a:rPr lang="en-US" dirty="0" err="1"/>
            <a:t>Uthal</a:t>
          </a:r>
          <a:endParaRPr lang="en-US" dirty="0"/>
        </a:p>
      </dgm:t>
    </dgm:pt>
    <dgm:pt modelId="{E16317D1-6F50-4823-97B7-A2996F0FE94D}" type="parTrans" cxnId="{1CBB0F56-2A16-469E-B30F-2E05729C9C4B}">
      <dgm:prSet/>
      <dgm:spPr/>
      <dgm:t>
        <a:bodyPr/>
        <a:lstStyle/>
        <a:p>
          <a:pPr algn="l"/>
          <a:endParaRPr lang="en-US"/>
        </a:p>
      </dgm:t>
    </dgm:pt>
    <dgm:pt modelId="{E552DB50-1B67-4762-89F9-7D3490111E2B}" type="sibTrans" cxnId="{1CBB0F56-2A16-469E-B30F-2E05729C9C4B}">
      <dgm:prSet/>
      <dgm:spPr/>
      <dgm:t>
        <a:bodyPr/>
        <a:lstStyle/>
        <a:p>
          <a:endParaRPr lang="en-US"/>
        </a:p>
      </dgm:t>
    </dgm:pt>
    <dgm:pt modelId="{6B7869AD-54CD-443E-9269-95A6919010E7}">
      <dgm:prSet/>
      <dgm:spPr/>
      <dgm:t>
        <a:bodyPr/>
        <a:lstStyle/>
        <a:p>
          <a:r>
            <a:rPr lang="en-US" dirty="0">
              <a:solidFill>
                <a:schemeClr val="tx1"/>
              </a:solidFill>
            </a:rPr>
            <a:t>November 30, 2021</a:t>
          </a:r>
        </a:p>
      </dgm:t>
    </dgm:pt>
    <dgm:pt modelId="{10BFAE19-F378-4635-9658-F970608DD644}" type="parTrans" cxnId="{FD7BE0D2-1C92-4C32-86CA-B1D0C6914773}">
      <dgm:prSet/>
      <dgm:spPr/>
      <dgm:t>
        <a:bodyPr/>
        <a:lstStyle/>
        <a:p>
          <a:endParaRPr lang="en-US"/>
        </a:p>
      </dgm:t>
    </dgm:pt>
    <dgm:pt modelId="{8910EF4A-60A7-4962-B3C4-BCBEBE91F592}" type="sibTrans" cxnId="{FD7BE0D2-1C92-4C32-86CA-B1D0C6914773}">
      <dgm:prSet/>
      <dgm:spPr/>
      <dgm:t>
        <a:bodyPr/>
        <a:lstStyle/>
        <a:p>
          <a:endParaRPr lang="en-US"/>
        </a:p>
      </dgm:t>
    </dgm:pt>
    <dgm:pt modelId="{3180D3BD-BB02-4168-A902-75926E95388B}">
      <dgm:prSet/>
      <dgm:spPr/>
      <dgm:t>
        <a:bodyPr/>
        <a:lstStyle/>
        <a:p>
          <a:r>
            <a:rPr lang="en-US" dirty="0"/>
            <a:t>NOC on TOR’s SMP</a:t>
          </a:r>
        </a:p>
      </dgm:t>
    </dgm:pt>
    <dgm:pt modelId="{2EFAE699-FD95-4081-B19C-734A9E8BFAFC}" type="parTrans" cxnId="{110F2ED0-19D7-41D2-B9AC-7040A0ACE34F}">
      <dgm:prSet/>
      <dgm:spPr/>
      <dgm:t>
        <a:bodyPr/>
        <a:lstStyle/>
        <a:p>
          <a:endParaRPr lang="en-US"/>
        </a:p>
      </dgm:t>
    </dgm:pt>
    <dgm:pt modelId="{76E32D02-E289-4905-A451-A1A2B73A920D}" type="sibTrans" cxnId="{110F2ED0-19D7-41D2-B9AC-7040A0ACE34F}">
      <dgm:prSet/>
      <dgm:spPr/>
      <dgm:t>
        <a:bodyPr/>
        <a:lstStyle/>
        <a:p>
          <a:endParaRPr lang="en-US"/>
        </a:p>
      </dgm:t>
    </dgm:pt>
    <dgm:pt modelId="{0EAF9DB4-80D6-4968-8882-3B4E6FDB3358}">
      <dgm:prSet/>
      <dgm:spPr/>
      <dgm:t>
        <a:bodyPr/>
        <a:lstStyle/>
        <a:p>
          <a:r>
            <a:rPr lang="en-US" dirty="0">
              <a:solidFill>
                <a:schemeClr val="tx1"/>
              </a:solidFill>
            </a:rPr>
            <a:t>Advertisement of Staff Hiring</a:t>
          </a:r>
          <a:endParaRPr lang="en-US" dirty="0"/>
        </a:p>
      </dgm:t>
    </dgm:pt>
    <dgm:pt modelId="{4D566221-3A20-4E01-8B43-6B03A97A4B32}" type="parTrans" cxnId="{F66D5C52-40F8-445D-889A-E98E645997DC}">
      <dgm:prSet/>
      <dgm:spPr/>
      <dgm:t>
        <a:bodyPr/>
        <a:lstStyle/>
        <a:p>
          <a:endParaRPr lang="en-US"/>
        </a:p>
      </dgm:t>
    </dgm:pt>
    <dgm:pt modelId="{982A3015-BCD0-486F-994D-D0CDE0B3EE79}" type="sibTrans" cxnId="{F66D5C52-40F8-445D-889A-E98E645997DC}">
      <dgm:prSet/>
      <dgm:spPr/>
      <dgm:t>
        <a:bodyPr/>
        <a:lstStyle/>
        <a:p>
          <a:endParaRPr lang="en-US"/>
        </a:p>
      </dgm:t>
    </dgm:pt>
    <dgm:pt modelId="{EB669B84-D831-472E-8265-7F6B80F86771}">
      <dgm:prSet/>
      <dgm:spPr/>
      <dgm:t>
        <a:bodyPr/>
        <a:lstStyle/>
        <a:p>
          <a:r>
            <a:rPr lang="en-US" dirty="0">
              <a:solidFill>
                <a:schemeClr val="tx1"/>
              </a:solidFill>
            </a:rPr>
            <a:t>November 6, 2021</a:t>
          </a:r>
        </a:p>
      </dgm:t>
    </dgm:pt>
    <dgm:pt modelId="{ED806E8B-4FE0-424B-B797-EC7AE4582E63}" type="sibTrans" cxnId="{993CDB9E-B8D2-41CF-8B58-6E417CA03C7C}">
      <dgm:prSet/>
      <dgm:spPr/>
      <dgm:t>
        <a:bodyPr/>
        <a:lstStyle/>
        <a:p>
          <a:endParaRPr lang="en-US"/>
        </a:p>
      </dgm:t>
    </dgm:pt>
    <dgm:pt modelId="{3A1AD888-7B9D-4FA2-9DBD-890600BE47AE}" type="parTrans" cxnId="{993CDB9E-B8D2-41CF-8B58-6E417CA03C7C}">
      <dgm:prSet/>
      <dgm:spPr/>
      <dgm:t>
        <a:bodyPr/>
        <a:lstStyle/>
        <a:p>
          <a:endParaRPr lang="en-US"/>
        </a:p>
      </dgm:t>
    </dgm:pt>
    <dgm:pt modelId="{9F53CCBB-20A6-47FD-BC24-D93009BA4049}">
      <dgm:prSet/>
      <dgm:spPr/>
      <dgm:t>
        <a:bodyPr/>
        <a:lstStyle/>
        <a:p>
          <a:r>
            <a:rPr lang="en-US" dirty="0"/>
            <a:t>PIU Office, Gwadar</a:t>
          </a:r>
        </a:p>
      </dgm:t>
    </dgm:pt>
    <dgm:pt modelId="{588D061F-35EC-4AA4-939C-74E44A303F06}" type="parTrans" cxnId="{E50527ED-4C66-4C88-8533-6858E9524626}">
      <dgm:prSet/>
      <dgm:spPr/>
      <dgm:t>
        <a:bodyPr/>
        <a:lstStyle/>
        <a:p>
          <a:endParaRPr lang="en-US"/>
        </a:p>
      </dgm:t>
    </dgm:pt>
    <dgm:pt modelId="{E77F0583-37D6-403C-B64E-7DB028B56914}" type="sibTrans" cxnId="{E50527ED-4C66-4C88-8533-6858E9524626}">
      <dgm:prSet/>
      <dgm:spPr/>
      <dgm:t>
        <a:bodyPr/>
        <a:lstStyle/>
        <a:p>
          <a:endParaRPr lang="en-US"/>
        </a:p>
      </dgm:t>
    </dgm:pt>
    <dgm:pt modelId="{E5AB99C1-560C-4648-BE5C-15D10D5E4C54}">
      <dgm:prSet/>
      <dgm:spPr/>
      <dgm:t>
        <a:bodyPr/>
        <a:lstStyle/>
        <a:p>
          <a:r>
            <a:rPr lang="en-US" dirty="0"/>
            <a:t>Initiate the Hiring Process</a:t>
          </a:r>
        </a:p>
      </dgm:t>
    </dgm:pt>
    <dgm:pt modelId="{504F6B22-7609-4107-BFC1-E2A8F9DB073C}" type="parTrans" cxnId="{EEFBF5A7-D8DD-4CDE-BBE4-AC880739A0B3}">
      <dgm:prSet/>
      <dgm:spPr/>
      <dgm:t>
        <a:bodyPr/>
        <a:lstStyle/>
        <a:p>
          <a:endParaRPr lang="en-US"/>
        </a:p>
      </dgm:t>
    </dgm:pt>
    <dgm:pt modelId="{BF988C39-9E84-464A-A89A-B318AFCA8300}" type="sibTrans" cxnId="{EEFBF5A7-D8DD-4CDE-BBE4-AC880739A0B3}">
      <dgm:prSet/>
      <dgm:spPr/>
      <dgm:t>
        <a:bodyPr/>
        <a:lstStyle/>
        <a:p>
          <a:endParaRPr lang="en-US"/>
        </a:p>
      </dgm:t>
    </dgm:pt>
    <dgm:pt modelId="{DAAB3786-E5BA-4FAC-914C-5B2C0473357A}">
      <dgm:prSet/>
      <dgm:spPr/>
      <dgm:t>
        <a:bodyPr/>
        <a:lstStyle/>
        <a:p>
          <a:r>
            <a:rPr lang="en-US" dirty="0">
              <a:solidFill>
                <a:schemeClr val="tx1"/>
              </a:solidFill>
            </a:rPr>
            <a:t>November 2021</a:t>
          </a:r>
        </a:p>
      </dgm:t>
    </dgm:pt>
    <dgm:pt modelId="{1C17CEED-4B68-453F-9CF9-46AD9C73FD69}" type="parTrans" cxnId="{4904A7FC-A3EC-4637-965B-FB11F9D6FF97}">
      <dgm:prSet/>
      <dgm:spPr/>
      <dgm:t>
        <a:bodyPr/>
        <a:lstStyle/>
        <a:p>
          <a:endParaRPr lang="en-US"/>
        </a:p>
      </dgm:t>
    </dgm:pt>
    <dgm:pt modelId="{248DC34E-A767-4283-B57B-A28525AD16CB}" type="sibTrans" cxnId="{4904A7FC-A3EC-4637-965B-FB11F9D6FF97}">
      <dgm:prSet/>
      <dgm:spPr/>
      <dgm:t>
        <a:bodyPr/>
        <a:lstStyle/>
        <a:p>
          <a:endParaRPr lang="en-US"/>
        </a:p>
      </dgm:t>
    </dgm:pt>
    <dgm:pt modelId="{E310848F-947D-45E3-9903-AA2A79660580}">
      <dgm:prSet/>
      <dgm:spPr/>
      <dgm:t>
        <a:bodyPr/>
        <a:lstStyle/>
        <a:p>
          <a:r>
            <a:rPr lang="en-US" dirty="0">
              <a:solidFill>
                <a:schemeClr val="tx1"/>
              </a:solidFill>
            </a:rPr>
            <a:t>Initiated Procurement Process of Vehicles</a:t>
          </a:r>
        </a:p>
      </dgm:t>
    </dgm:pt>
    <dgm:pt modelId="{627C51AB-0877-459C-B34C-5D4AE4B0DD82}" type="parTrans" cxnId="{802EE7D8-436B-42C9-A4F6-04AE2027CC09}">
      <dgm:prSet/>
      <dgm:spPr/>
      <dgm:t>
        <a:bodyPr/>
        <a:lstStyle/>
        <a:p>
          <a:endParaRPr lang="en-US"/>
        </a:p>
      </dgm:t>
    </dgm:pt>
    <dgm:pt modelId="{6B5F36E5-3954-429E-9E15-DA05748A72C4}" type="sibTrans" cxnId="{802EE7D8-436B-42C9-A4F6-04AE2027CC09}">
      <dgm:prSet/>
      <dgm:spPr/>
      <dgm:t>
        <a:bodyPr/>
        <a:lstStyle/>
        <a:p>
          <a:endParaRPr lang="en-US"/>
        </a:p>
      </dgm:t>
    </dgm:pt>
    <dgm:pt modelId="{43D4E0F1-73A1-47A5-8BD4-7220CA0DBA80}">
      <dgm:prSet/>
      <dgm:spPr/>
      <dgm:t>
        <a:bodyPr/>
        <a:lstStyle/>
        <a:p>
          <a:r>
            <a:rPr lang="en-US" dirty="0">
              <a:solidFill>
                <a:schemeClr val="tx1"/>
              </a:solidFill>
            </a:rPr>
            <a:t>September 28, 2021</a:t>
          </a:r>
        </a:p>
      </dgm:t>
    </dgm:pt>
    <dgm:pt modelId="{3C7F0078-E8A4-4B18-8012-642978A5004B}" type="parTrans" cxnId="{9EF9227C-6DB4-4616-955B-0EB5150B3C11}">
      <dgm:prSet/>
      <dgm:spPr/>
      <dgm:t>
        <a:bodyPr/>
        <a:lstStyle/>
        <a:p>
          <a:endParaRPr lang="en-US"/>
        </a:p>
      </dgm:t>
    </dgm:pt>
    <dgm:pt modelId="{C9A1A56E-C629-4419-AAA2-0AA0884ADF2A}" type="sibTrans" cxnId="{9EF9227C-6DB4-4616-955B-0EB5150B3C11}">
      <dgm:prSet/>
      <dgm:spPr/>
      <dgm:t>
        <a:bodyPr/>
        <a:lstStyle/>
        <a:p>
          <a:endParaRPr lang="en-US"/>
        </a:p>
      </dgm:t>
    </dgm:pt>
    <dgm:pt modelId="{75D10119-8178-4EA1-96D6-D343AF5AE7E3}">
      <dgm:prSet/>
      <dgm:spPr/>
      <dgm:t>
        <a:bodyPr/>
        <a:lstStyle/>
        <a:p>
          <a:r>
            <a:rPr lang="en-US" dirty="0">
              <a:solidFill>
                <a:schemeClr val="tx1"/>
              </a:solidFill>
            </a:rPr>
            <a:t>BISP (PSC) Data</a:t>
          </a:r>
          <a:br>
            <a:rPr lang="en-US" dirty="0">
              <a:solidFill>
                <a:schemeClr val="tx1"/>
              </a:solidFill>
            </a:rPr>
          </a:br>
          <a:r>
            <a:rPr lang="en-US" dirty="0">
              <a:solidFill>
                <a:schemeClr val="tx1"/>
              </a:solidFill>
            </a:rPr>
            <a:t>Meeting with P&amp;D Dept</a:t>
          </a:r>
          <a:br>
            <a:rPr lang="en-US" dirty="0">
              <a:solidFill>
                <a:schemeClr val="tx1"/>
              </a:solidFill>
            </a:rPr>
          </a:br>
          <a:r>
            <a:rPr lang="en-US" dirty="0">
              <a:solidFill>
                <a:schemeClr val="tx1"/>
              </a:solidFill>
            </a:rPr>
            <a:t>Meeting with BISP Data Sharing Committee</a:t>
          </a:r>
        </a:p>
      </dgm:t>
    </dgm:pt>
    <dgm:pt modelId="{ACB5D847-D905-4D3B-9B2A-426AF39FB5A2}" type="parTrans" cxnId="{FDD8D741-36CC-4351-ADAD-DB6FC81E1399}">
      <dgm:prSet/>
      <dgm:spPr/>
      <dgm:t>
        <a:bodyPr/>
        <a:lstStyle/>
        <a:p>
          <a:endParaRPr lang="en-US"/>
        </a:p>
      </dgm:t>
    </dgm:pt>
    <dgm:pt modelId="{32A40A7E-8AF8-41B4-9963-1ED9D2CE37A0}" type="sibTrans" cxnId="{FDD8D741-36CC-4351-ADAD-DB6FC81E1399}">
      <dgm:prSet/>
      <dgm:spPr/>
      <dgm:t>
        <a:bodyPr/>
        <a:lstStyle/>
        <a:p>
          <a:endParaRPr lang="en-US"/>
        </a:p>
      </dgm:t>
    </dgm:pt>
    <dgm:pt modelId="{ED02B2BD-99B4-456C-B641-535ECDEEEB30}">
      <dgm:prSet/>
      <dgm:spPr/>
      <dgm:t>
        <a:bodyPr/>
        <a:lstStyle/>
        <a:p>
          <a:r>
            <a:rPr lang="en-US" b="0" dirty="0">
              <a:solidFill>
                <a:schemeClr val="tx1"/>
              </a:solidFill>
            </a:rPr>
            <a:t>October 13, 2021</a:t>
          </a:r>
        </a:p>
      </dgm:t>
    </dgm:pt>
    <dgm:pt modelId="{118882DA-FDF3-437E-8E5F-C6E63CA8F0C8}" type="parTrans" cxnId="{6BBABA1A-CD5D-4E11-94A7-F09C5D5F7D0A}">
      <dgm:prSet/>
      <dgm:spPr/>
      <dgm:t>
        <a:bodyPr/>
        <a:lstStyle/>
        <a:p>
          <a:endParaRPr lang="en-US"/>
        </a:p>
      </dgm:t>
    </dgm:pt>
    <dgm:pt modelId="{DB0B47AC-8FA5-491E-8471-6B96DD1F3C62}" type="sibTrans" cxnId="{6BBABA1A-CD5D-4E11-94A7-F09C5D5F7D0A}">
      <dgm:prSet/>
      <dgm:spPr/>
      <dgm:t>
        <a:bodyPr/>
        <a:lstStyle/>
        <a:p>
          <a:endParaRPr lang="en-US"/>
        </a:p>
      </dgm:t>
    </dgm:pt>
    <dgm:pt modelId="{B1E62C98-7BE9-4E71-BCD4-B7ECF32CD86C}">
      <dgm:prSet/>
      <dgm:spPr/>
      <dgm:t>
        <a:bodyPr/>
        <a:lstStyle/>
        <a:p>
          <a:r>
            <a:rPr lang="en-US" b="0" dirty="0">
              <a:solidFill>
                <a:schemeClr val="tx1"/>
              </a:solidFill>
            </a:rPr>
            <a:t>Introductory Meeting with WFP (Zoom)</a:t>
          </a:r>
          <a:br>
            <a:rPr lang="en-US" b="0" dirty="0">
              <a:solidFill>
                <a:schemeClr val="tx1"/>
              </a:solidFill>
            </a:rPr>
          </a:br>
          <a:r>
            <a:rPr lang="en-US" b="0" dirty="0">
              <a:solidFill>
                <a:schemeClr val="tx1"/>
              </a:solidFill>
            </a:rPr>
            <a:t>Sent a formal letter for Proposal for WFP Interventions</a:t>
          </a:r>
        </a:p>
      </dgm:t>
    </dgm:pt>
    <dgm:pt modelId="{8A6B4F27-D263-4284-A624-89CE9FBD2DDF}" type="parTrans" cxnId="{FD043C27-DBEA-47FA-A84B-8983347AF9A0}">
      <dgm:prSet/>
      <dgm:spPr/>
      <dgm:t>
        <a:bodyPr/>
        <a:lstStyle/>
        <a:p>
          <a:endParaRPr lang="en-US"/>
        </a:p>
      </dgm:t>
    </dgm:pt>
    <dgm:pt modelId="{F9746AB2-AC77-49A4-A739-E0A19640DDB8}" type="sibTrans" cxnId="{FD043C27-DBEA-47FA-A84B-8983347AF9A0}">
      <dgm:prSet/>
      <dgm:spPr/>
      <dgm:t>
        <a:bodyPr/>
        <a:lstStyle/>
        <a:p>
          <a:endParaRPr lang="en-US"/>
        </a:p>
      </dgm:t>
    </dgm:pt>
    <dgm:pt modelId="{57BDC8CF-0BA7-4D26-8D09-C59E8C6ADA62}">
      <dgm:prSet/>
      <dgm:spPr/>
      <dgm:t>
        <a:bodyPr/>
        <a:lstStyle/>
        <a:p>
          <a:r>
            <a:rPr lang="en-US" dirty="0">
              <a:solidFill>
                <a:schemeClr val="tx1"/>
              </a:solidFill>
            </a:rPr>
            <a:t>November 1, 2021</a:t>
          </a:r>
        </a:p>
      </dgm:t>
    </dgm:pt>
    <dgm:pt modelId="{C370DA9E-9D40-42D1-9C94-733250EFE013}" type="parTrans" cxnId="{F32D881D-2001-4611-B87F-DE1E2BFEA434}">
      <dgm:prSet/>
      <dgm:spPr/>
      <dgm:t>
        <a:bodyPr/>
        <a:lstStyle/>
        <a:p>
          <a:endParaRPr lang="en-US"/>
        </a:p>
      </dgm:t>
    </dgm:pt>
    <dgm:pt modelId="{E5E0098F-69B9-45D6-A7EC-59498B1AD29B}" type="sibTrans" cxnId="{F32D881D-2001-4611-B87F-DE1E2BFEA434}">
      <dgm:prSet/>
      <dgm:spPr/>
      <dgm:t>
        <a:bodyPr/>
        <a:lstStyle/>
        <a:p>
          <a:endParaRPr lang="en-US"/>
        </a:p>
      </dgm:t>
    </dgm:pt>
    <dgm:pt modelId="{2E6EA0A6-F02E-4A01-88E2-67B3126C4D98}">
      <dgm:prSet/>
      <dgm:spPr/>
      <dgm:t>
        <a:bodyPr/>
        <a:lstStyle/>
        <a:p>
          <a:r>
            <a:rPr lang="en-US" dirty="0">
              <a:solidFill>
                <a:schemeClr val="tx1"/>
              </a:solidFill>
            </a:rPr>
            <a:t>Received WFP Concept Note</a:t>
          </a:r>
        </a:p>
      </dgm:t>
    </dgm:pt>
    <dgm:pt modelId="{C3B63567-5FE6-46D9-A11C-D072E1A262D4}" type="parTrans" cxnId="{55F7E3E3-7131-40D9-B444-8CDEA2651165}">
      <dgm:prSet/>
      <dgm:spPr/>
      <dgm:t>
        <a:bodyPr/>
        <a:lstStyle/>
        <a:p>
          <a:endParaRPr lang="en-US"/>
        </a:p>
      </dgm:t>
    </dgm:pt>
    <dgm:pt modelId="{61C59F86-14F7-4C98-B036-7B166D6CDC1A}" type="sibTrans" cxnId="{55F7E3E3-7131-40D9-B444-8CDEA2651165}">
      <dgm:prSet/>
      <dgm:spPr/>
      <dgm:t>
        <a:bodyPr/>
        <a:lstStyle/>
        <a:p>
          <a:endParaRPr lang="en-US"/>
        </a:p>
      </dgm:t>
    </dgm:pt>
    <dgm:pt modelId="{3788CAA6-FCA1-4709-BB17-710D8A104833}">
      <dgm:prSet/>
      <dgm:spPr/>
      <dgm:t>
        <a:bodyPr/>
        <a:lstStyle/>
        <a:p>
          <a:r>
            <a:rPr lang="en-US" dirty="0">
              <a:solidFill>
                <a:schemeClr val="tx1"/>
              </a:solidFill>
            </a:rPr>
            <a:t>Shared the comments of P&amp;D and PMU on Concept Note</a:t>
          </a:r>
        </a:p>
      </dgm:t>
    </dgm:pt>
    <dgm:pt modelId="{2E108392-9276-415D-8BEC-E66FA9514B5B}" type="parTrans" cxnId="{054BAC83-AAD4-4F3C-B1E1-37BC77D5582A}">
      <dgm:prSet/>
      <dgm:spPr/>
      <dgm:t>
        <a:bodyPr/>
        <a:lstStyle/>
        <a:p>
          <a:endParaRPr lang="en-US"/>
        </a:p>
      </dgm:t>
    </dgm:pt>
    <dgm:pt modelId="{A2801722-8A5E-40C3-9513-ADF6552D0CC2}" type="sibTrans" cxnId="{054BAC83-AAD4-4F3C-B1E1-37BC77D5582A}">
      <dgm:prSet/>
      <dgm:spPr/>
      <dgm:t>
        <a:bodyPr/>
        <a:lstStyle/>
        <a:p>
          <a:endParaRPr lang="en-US"/>
        </a:p>
      </dgm:t>
    </dgm:pt>
    <dgm:pt modelId="{56C0EB28-66DC-4208-A859-086AE2AF8338}">
      <dgm:prSet/>
      <dgm:spPr/>
      <dgm:t>
        <a:bodyPr/>
        <a:lstStyle/>
        <a:p>
          <a:r>
            <a:rPr lang="en-US" dirty="0">
              <a:solidFill>
                <a:schemeClr val="tx1"/>
              </a:solidFill>
            </a:rPr>
            <a:t>October 11, 2021</a:t>
          </a:r>
          <a:endParaRPr lang="en-US" b="0" dirty="0">
            <a:solidFill>
              <a:schemeClr val="tx1"/>
            </a:solidFill>
          </a:endParaRPr>
        </a:p>
      </dgm:t>
    </dgm:pt>
    <dgm:pt modelId="{19C974B5-2C4E-4F65-8450-95324E987F8C}" type="parTrans" cxnId="{4FE8B9BE-279E-40EF-80FE-73EB8B1E54AD}">
      <dgm:prSet/>
      <dgm:spPr/>
      <dgm:t>
        <a:bodyPr/>
        <a:lstStyle/>
        <a:p>
          <a:endParaRPr lang="en-US"/>
        </a:p>
      </dgm:t>
    </dgm:pt>
    <dgm:pt modelId="{E22E526B-FC2C-403B-8FD0-FF82150224E8}" type="sibTrans" cxnId="{4FE8B9BE-279E-40EF-80FE-73EB8B1E54AD}">
      <dgm:prSet/>
      <dgm:spPr/>
      <dgm:t>
        <a:bodyPr/>
        <a:lstStyle/>
        <a:p>
          <a:endParaRPr lang="en-US"/>
        </a:p>
      </dgm:t>
    </dgm:pt>
    <dgm:pt modelId="{ED95D9ED-DEAE-469C-94A8-5BE31841D8BC}">
      <dgm:prSet/>
      <dgm:spPr/>
      <dgm:t>
        <a:bodyPr/>
        <a:lstStyle/>
        <a:p>
          <a:r>
            <a:rPr lang="en-US" b="0" dirty="0">
              <a:solidFill>
                <a:schemeClr val="tx1"/>
              </a:solidFill>
            </a:rPr>
            <a:t>Introductory meeting with </a:t>
          </a:r>
          <a:r>
            <a:rPr lang="en-US" dirty="0"/>
            <a:t>UNOPS Pakistan for Procurement Services for Feasibility of Jetties</a:t>
          </a:r>
          <a:endParaRPr lang="en-US" b="0" dirty="0">
            <a:solidFill>
              <a:schemeClr val="tx1"/>
            </a:solidFill>
          </a:endParaRPr>
        </a:p>
      </dgm:t>
    </dgm:pt>
    <dgm:pt modelId="{B044656B-E961-4C93-8699-93C191AA1D45}" type="parTrans" cxnId="{C93F7597-BD51-4BD8-8228-EB4D92A48BD2}">
      <dgm:prSet/>
      <dgm:spPr/>
      <dgm:t>
        <a:bodyPr/>
        <a:lstStyle/>
        <a:p>
          <a:endParaRPr lang="en-US"/>
        </a:p>
      </dgm:t>
    </dgm:pt>
    <dgm:pt modelId="{78F932A4-813E-4FCD-BB97-E5D8B3D1C6D4}" type="sibTrans" cxnId="{C93F7597-BD51-4BD8-8228-EB4D92A48BD2}">
      <dgm:prSet/>
      <dgm:spPr/>
      <dgm:t>
        <a:bodyPr/>
        <a:lstStyle/>
        <a:p>
          <a:endParaRPr lang="en-US"/>
        </a:p>
      </dgm:t>
    </dgm:pt>
    <dgm:pt modelId="{468A4356-1CF0-4C46-A4F9-AAFED833460B}">
      <dgm:prSet/>
      <dgm:spPr/>
      <dgm:t>
        <a:bodyPr/>
        <a:lstStyle/>
        <a:p>
          <a:r>
            <a:rPr lang="en-US" dirty="0">
              <a:solidFill>
                <a:schemeClr val="tx1"/>
              </a:solidFill>
            </a:rPr>
            <a:t>November 2, 2021</a:t>
          </a:r>
        </a:p>
      </dgm:t>
    </dgm:pt>
    <dgm:pt modelId="{657BF9E4-221B-4F94-91CC-3FEBAC47BFE9}" type="parTrans" cxnId="{69AE9296-1425-4EC6-B2A0-4C68CEC98138}">
      <dgm:prSet/>
      <dgm:spPr/>
      <dgm:t>
        <a:bodyPr/>
        <a:lstStyle/>
        <a:p>
          <a:endParaRPr lang="en-US"/>
        </a:p>
      </dgm:t>
    </dgm:pt>
    <dgm:pt modelId="{290A3A26-9A80-4D0B-8794-71FC05387F44}" type="sibTrans" cxnId="{69AE9296-1425-4EC6-B2A0-4C68CEC98138}">
      <dgm:prSet/>
      <dgm:spPr/>
      <dgm:t>
        <a:bodyPr/>
        <a:lstStyle/>
        <a:p>
          <a:endParaRPr lang="en-US"/>
        </a:p>
      </dgm:t>
    </dgm:pt>
    <dgm:pt modelId="{35A3D0AE-D940-4A4C-AE93-263F6230769F}">
      <dgm:prSet/>
      <dgm:spPr/>
      <dgm:t>
        <a:bodyPr/>
        <a:lstStyle/>
        <a:p>
          <a:r>
            <a:rPr lang="en-US" dirty="0">
              <a:solidFill>
                <a:schemeClr val="tx1"/>
              </a:solidFill>
            </a:rPr>
            <a:t>Open BPPRA Account for Project </a:t>
          </a:r>
        </a:p>
      </dgm:t>
    </dgm:pt>
    <dgm:pt modelId="{5F8364AC-DC2B-4AF4-B444-7484FC23C324}" type="parTrans" cxnId="{058DB3AD-DE7B-4FF9-A75A-6C3670144005}">
      <dgm:prSet/>
      <dgm:spPr/>
      <dgm:t>
        <a:bodyPr/>
        <a:lstStyle/>
        <a:p>
          <a:endParaRPr lang="en-US"/>
        </a:p>
      </dgm:t>
    </dgm:pt>
    <dgm:pt modelId="{B66EC7A2-2583-4A60-BAB9-2505E81F6B32}" type="sibTrans" cxnId="{058DB3AD-DE7B-4FF9-A75A-6C3670144005}">
      <dgm:prSet/>
      <dgm:spPr/>
      <dgm:t>
        <a:bodyPr/>
        <a:lstStyle/>
        <a:p>
          <a:endParaRPr lang="en-US"/>
        </a:p>
      </dgm:t>
    </dgm:pt>
    <dgm:pt modelId="{82FA384E-B986-4C8A-87F8-88C9AFE2018F}">
      <dgm:prSet/>
      <dgm:spPr/>
      <dgm:t>
        <a:bodyPr/>
        <a:lstStyle/>
        <a:p>
          <a:r>
            <a:rPr lang="en-US" dirty="0">
              <a:solidFill>
                <a:schemeClr val="tx1"/>
              </a:solidFill>
            </a:rPr>
            <a:t>October 29, 2021</a:t>
          </a:r>
        </a:p>
      </dgm:t>
    </dgm:pt>
    <dgm:pt modelId="{EB4E4849-EACD-42B4-8E5E-46EF3DDDDE9D}" type="parTrans" cxnId="{00C74DC1-ACB2-445A-8CC8-64D51F957D13}">
      <dgm:prSet/>
      <dgm:spPr/>
      <dgm:t>
        <a:bodyPr/>
        <a:lstStyle/>
        <a:p>
          <a:endParaRPr lang="en-US"/>
        </a:p>
      </dgm:t>
    </dgm:pt>
    <dgm:pt modelId="{2143AA29-B963-48A3-9ED2-F1DEF1CEAA9C}" type="sibTrans" cxnId="{00C74DC1-ACB2-445A-8CC8-64D51F957D13}">
      <dgm:prSet/>
      <dgm:spPr/>
      <dgm:t>
        <a:bodyPr/>
        <a:lstStyle/>
        <a:p>
          <a:endParaRPr lang="en-US"/>
        </a:p>
      </dgm:t>
    </dgm:pt>
    <dgm:pt modelId="{5DAA349C-8974-471D-A2CE-D3A3F4AA34C2}">
      <dgm:prSet/>
      <dgm:spPr/>
      <dgm:t>
        <a:bodyPr/>
        <a:lstStyle/>
        <a:p>
          <a:r>
            <a:rPr lang="en-US" dirty="0">
              <a:solidFill>
                <a:schemeClr val="tx1"/>
              </a:solidFill>
            </a:rPr>
            <a:t>Initiated the procurement process of accounting software (TOMPRO)</a:t>
          </a:r>
        </a:p>
      </dgm:t>
    </dgm:pt>
    <dgm:pt modelId="{702C193A-2538-48CE-B9B6-0360EF089911}" type="parTrans" cxnId="{2E4F88D6-43A6-41FF-8C04-FEAA2FDEE062}">
      <dgm:prSet/>
      <dgm:spPr/>
      <dgm:t>
        <a:bodyPr/>
        <a:lstStyle/>
        <a:p>
          <a:endParaRPr lang="en-US"/>
        </a:p>
      </dgm:t>
    </dgm:pt>
    <dgm:pt modelId="{D5CB926F-EC09-483C-AEEB-73E1938562BE}" type="sibTrans" cxnId="{2E4F88D6-43A6-41FF-8C04-FEAA2FDEE062}">
      <dgm:prSet/>
      <dgm:spPr/>
      <dgm:t>
        <a:bodyPr/>
        <a:lstStyle/>
        <a:p>
          <a:endParaRPr lang="en-US"/>
        </a:p>
      </dgm:t>
    </dgm:pt>
    <dgm:pt modelId="{EBEA9F54-7364-45F9-829B-BF1EB38AEB12}" type="pres">
      <dgm:prSet presAssocID="{A86DFA04-31EF-49B6-AFAE-2287858E0303}" presName="Name0" presStyleCnt="0">
        <dgm:presLayoutVars>
          <dgm:chMax/>
          <dgm:chPref/>
          <dgm:animLvl val="lvl"/>
        </dgm:presLayoutVars>
      </dgm:prSet>
      <dgm:spPr/>
    </dgm:pt>
    <dgm:pt modelId="{AD58AE04-740E-49D5-BC71-4DFEC731C46A}" type="pres">
      <dgm:prSet presAssocID="{43D4E0F1-73A1-47A5-8BD4-7220CA0DBA80}" presName="composite1" presStyleCnt="0"/>
      <dgm:spPr/>
    </dgm:pt>
    <dgm:pt modelId="{0AE93CFE-4E3D-43B8-83B2-F1A89B0CE6C9}" type="pres">
      <dgm:prSet presAssocID="{43D4E0F1-73A1-47A5-8BD4-7220CA0DBA80}" presName="parent1" presStyleLbl="alignNode1" presStyleIdx="0" presStyleCnt="11">
        <dgm:presLayoutVars>
          <dgm:chMax val="1"/>
          <dgm:chPref val="1"/>
          <dgm:bulletEnabled val="1"/>
        </dgm:presLayoutVars>
      </dgm:prSet>
      <dgm:spPr/>
    </dgm:pt>
    <dgm:pt modelId="{8FECFA93-98CD-44A2-820D-CA0382324CAE}" type="pres">
      <dgm:prSet presAssocID="{43D4E0F1-73A1-47A5-8BD4-7220CA0DBA80}" presName="Childtext1" presStyleLbl="revTx" presStyleIdx="0" presStyleCnt="11">
        <dgm:presLayoutVars>
          <dgm:bulletEnabled val="1"/>
        </dgm:presLayoutVars>
      </dgm:prSet>
      <dgm:spPr/>
    </dgm:pt>
    <dgm:pt modelId="{DE79EB21-0412-43CA-9C53-437EA99BAFF9}" type="pres">
      <dgm:prSet presAssocID="{43D4E0F1-73A1-47A5-8BD4-7220CA0DBA80}" presName="ConnectLine1" presStyleLbl="sibTrans1D1" presStyleIdx="0" presStyleCnt="11"/>
      <dgm:spPr>
        <a:noFill/>
        <a:ln w="9525" cap="flat" cmpd="sng" algn="ctr">
          <a:solidFill>
            <a:schemeClr val="accent1">
              <a:hueOff val="0"/>
              <a:satOff val="0"/>
              <a:lumOff val="0"/>
              <a:alphaOff val="0"/>
            </a:schemeClr>
          </a:solidFill>
          <a:prstDash val="dash"/>
        </a:ln>
        <a:effectLst/>
      </dgm:spPr>
    </dgm:pt>
    <dgm:pt modelId="{63907C1E-9C94-4F79-800C-14D2B9501FDF}" type="pres">
      <dgm:prSet presAssocID="{43D4E0F1-73A1-47A5-8BD4-7220CA0DBA80}" presName="ConnectLineEnd1" presStyleLbl="lnNode1" presStyleIdx="0" presStyleCnt="11"/>
      <dgm:spPr/>
    </dgm:pt>
    <dgm:pt modelId="{EB7C02B5-7104-40F0-B930-3944FC3DF5C4}" type="pres">
      <dgm:prSet presAssocID="{43D4E0F1-73A1-47A5-8BD4-7220CA0DBA80}" presName="EmptyPane1" presStyleCnt="0"/>
      <dgm:spPr/>
    </dgm:pt>
    <dgm:pt modelId="{2D4D3A1B-F615-4E7D-9F3F-97A2C87D022F}" type="pres">
      <dgm:prSet presAssocID="{C9A1A56E-C629-4419-AAA2-0AA0884ADF2A}" presName="spaceBetweenRectangles1" presStyleCnt="0"/>
      <dgm:spPr/>
    </dgm:pt>
    <dgm:pt modelId="{1E0E434B-C551-4AF1-9CB3-080B799953FD}" type="pres">
      <dgm:prSet presAssocID="{56C0EB28-66DC-4208-A859-086AE2AF8338}" presName="composite1" presStyleCnt="0"/>
      <dgm:spPr/>
    </dgm:pt>
    <dgm:pt modelId="{FB7B0069-BD1E-4C3F-A5A5-8A803322E330}" type="pres">
      <dgm:prSet presAssocID="{56C0EB28-66DC-4208-A859-086AE2AF8338}" presName="parent1" presStyleLbl="alignNode1" presStyleIdx="1" presStyleCnt="11">
        <dgm:presLayoutVars>
          <dgm:chMax val="1"/>
          <dgm:chPref val="1"/>
          <dgm:bulletEnabled val="1"/>
        </dgm:presLayoutVars>
      </dgm:prSet>
      <dgm:spPr/>
    </dgm:pt>
    <dgm:pt modelId="{399EBD78-E611-443E-AECA-3687D3841A26}" type="pres">
      <dgm:prSet presAssocID="{56C0EB28-66DC-4208-A859-086AE2AF8338}" presName="Childtext1" presStyleLbl="revTx" presStyleIdx="1" presStyleCnt="11">
        <dgm:presLayoutVars>
          <dgm:bulletEnabled val="1"/>
        </dgm:presLayoutVars>
      </dgm:prSet>
      <dgm:spPr/>
    </dgm:pt>
    <dgm:pt modelId="{6D0D6526-38D1-4C8B-B351-28419686EAA5}" type="pres">
      <dgm:prSet presAssocID="{56C0EB28-66DC-4208-A859-086AE2AF8338}" presName="ConnectLine1" presStyleLbl="sibTrans1D1" presStyleIdx="1" presStyleCnt="11"/>
      <dgm:spPr>
        <a:noFill/>
        <a:ln w="9525" cap="flat" cmpd="sng" algn="ctr">
          <a:solidFill>
            <a:schemeClr val="accent1">
              <a:hueOff val="0"/>
              <a:satOff val="0"/>
              <a:lumOff val="0"/>
              <a:alphaOff val="0"/>
            </a:schemeClr>
          </a:solidFill>
          <a:prstDash val="dash"/>
        </a:ln>
        <a:effectLst/>
      </dgm:spPr>
    </dgm:pt>
    <dgm:pt modelId="{170C22D6-3C14-4D5C-857E-3EA28D91AECE}" type="pres">
      <dgm:prSet presAssocID="{56C0EB28-66DC-4208-A859-086AE2AF8338}" presName="ConnectLineEnd1" presStyleLbl="lnNode1" presStyleIdx="1" presStyleCnt="11"/>
      <dgm:spPr/>
    </dgm:pt>
    <dgm:pt modelId="{B9DF5469-82EE-410E-8249-546401CC656A}" type="pres">
      <dgm:prSet presAssocID="{56C0EB28-66DC-4208-A859-086AE2AF8338}" presName="EmptyPane1" presStyleCnt="0"/>
      <dgm:spPr/>
    </dgm:pt>
    <dgm:pt modelId="{AF4462E7-65E0-49EA-9777-F8E1564E9966}" type="pres">
      <dgm:prSet presAssocID="{E22E526B-FC2C-403B-8FD0-FF82150224E8}" presName="spaceBetweenRectangles1" presStyleCnt="0"/>
      <dgm:spPr/>
    </dgm:pt>
    <dgm:pt modelId="{FBB224A7-115F-434F-B929-BA2845FF2432}" type="pres">
      <dgm:prSet presAssocID="{ED02B2BD-99B4-456C-B641-535ECDEEEB30}" presName="composite1" presStyleCnt="0"/>
      <dgm:spPr/>
    </dgm:pt>
    <dgm:pt modelId="{A52617F1-8601-4C1C-AC30-C677B16D1B96}" type="pres">
      <dgm:prSet presAssocID="{ED02B2BD-99B4-456C-B641-535ECDEEEB30}" presName="parent1" presStyleLbl="alignNode1" presStyleIdx="2" presStyleCnt="11">
        <dgm:presLayoutVars>
          <dgm:chMax val="1"/>
          <dgm:chPref val="1"/>
          <dgm:bulletEnabled val="1"/>
        </dgm:presLayoutVars>
      </dgm:prSet>
      <dgm:spPr/>
    </dgm:pt>
    <dgm:pt modelId="{60E006DA-4418-4AF1-AA95-0601A40B1D18}" type="pres">
      <dgm:prSet presAssocID="{ED02B2BD-99B4-456C-B641-535ECDEEEB30}" presName="Childtext1" presStyleLbl="revTx" presStyleIdx="2" presStyleCnt="11">
        <dgm:presLayoutVars>
          <dgm:bulletEnabled val="1"/>
        </dgm:presLayoutVars>
      </dgm:prSet>
      <dgm:spPr/>
    </dgm:pt>
    <dgm:pt modelId="{7D57EAF7-DBEA-4CD9-9024-2310B92FCA87}" type="pres">
      <dgm:prSet presAssocID="{ED02B2BD-99B4-456C-B641-535ECDEEEB30}" presName="ConnectLine1" presStyleLbl="sibTrans1D1" presStyleIdx="2" presStyleCnt="11"/>
      <dgm:spPr>
        <a:noFill/>
        <a:ln w="9525" cap="flat" cmpd="sng" algn="ctr">
          <a:solidFill>
            <a:schemeClr val="accent1">
              <a:hueOff val="0"/>
              <a:satOff val="0"/>
              <a:lumOff val="0"/>
              <a:alphaOff val="0"/>
            </a:schemeClr>
          </a:solidFill>
          <a:prstDash val="dash"/>
        </a:ln>
        <a:effectLst/>
      </dgm:spPr>
    </dgm:pt>
    <dgm:pt modelId="{369C00D7-1780-461A-81E5-9BFF63D7DFE3}" type="pres">
      <dgm:prSet presAssocID="{ED02B2BD-99B4-456C-B641-535ECDEEEB30}" presName="ConnectLineEnd1" presStyleLbl="lnNode1" presStyleIdx="2" presStyleCnt="11"/>
      <dgm:spPr/>
    </dgm:pt>
    <dgm:pt modelId="{D9C2337D-F29D-4373-8338-B06E2C77977F}" type="pres">
      <dgm:prSet presAssocID="{ED02B2BD-99B4-456C-B641-535ECDEEEB30}" presName="EmptyPane1" presStyleCnt="0"/>
      <dgm:spPr/>
    </dgm:pt>
    <dgm:pt modelId="{227C4ABE-4850-46AF-A38B-431E358CA0A5}" type="pres">
      <dgm:prSet presAssocID="{DB0B47AC-8FA5-491E-8471-6B96DD1F3C62}" presName="spaceBetweenRectangles1" presStyleCnt="0"/>
      <dgm:spPr/>
    </dgm:pt>
    <dgm:pt modelId="{56C51E4D-0529-41A7-8ECB-FCB11741F50C}" type="pres">
      <dgm:prSet presAssocID="{82FA384E-B986-4C8A-87F8-88C9AFE2018F}" presName="composite1" presStyleCnt="0"/>
      <dgm:spPr/>
    </dgm:pt>
    <dgm:pt modelId="{E1CE5990-6130-4995-A229-2B2C0AE0B9CC}" type="pres">
      <dgm:prSet presAssocID="{82FA384E-B986-4C8A-87F8-88C9AFE2018F}" presName="parent1" presStyleLbl="alignNode1" presStyleIdx="3" presStyleCnt="11">
        <dgm:presLayoutVars>
          <dgm:chMax val="1"/>
          <dgm:chPref val="1"/>
          <dgm:bulletEnabled val="1"/>
        </dgm:presLayoutVars>
      </dgm:prSet>
      <dgm:spPr/>
    </dgm:pt>
    <dgm:pt modelId="{744DF757-1C96-491A-8F96-9BE62991D121}" type="pres">
      <dgm:prSet presAssocID="{82FA384E-B986-4C8A-87F8-88C9AFE2018F}" presName="Childtext1" presStyleLbl="revTx" presStyleIdx="3" presStyleCnt="11">
        <dgm:presLayoutVars>
          <dgm:bulletEnabled val="1"/>
        </dgm:presLayoutVars>
      </dgm:prSet>
      <dgm:spPr/>
    </dgm:pt>
    <dgm:pt modelId="{D489328E-8E15-42E2-B975-D4A81519B11D}" type="pres">
      <dgm:prSet presAssocID="{82FA384E-B986-4C8A-87F8-88C9AFE2018F}" presName="ConnectLine1" presStyleLbl="sibTrans1D1" presStyleIdx="3" presStyleCnt="11"/>
      <dgm:spPr>
        <a:noFill/>
        <a:ln w="9525" cap="flat" cmpd="sng" algn="ctr">
          <a:solidFill>
            <a:schemeClr val="accent1">
              <a:hueOff val="0"/>
              <a:satOff val="0"/>
              <a:lumOff val="0"/>
              <a:alphaOff val="0"/>
            </a:schemeClr>
          </a:solidFill>
          <a:prstDash val="dash"/>
        </a:ln>
        <a:effectLst/>
      </dgm:spPr>
    </dgm:pt>
    <dgm:pt modelId="{6E6D177E-8EA2-4091-A87E-861F482BDE25}" type="pres">
      <dgm:prSet presAssocID="{82FA384E-B986-4C8A-87F8-88C9AFE2018F}" presName="ConnectLineEnd1" presStyleLbl="lnNode1" presStyleIdx="3" presStyleCnt="11"/>
      <dgm:spPr/>
    </dgm:pt>
    <dgm:pt modelId="{06299C9C-A882-412A-B0BE-D0AAB2DD59EC}" type="pres">
      <dgm:prSet presAssocID="{82FA384E-B986-4C8A-87F8-88C9AFE2018F}" presName="EmptyPane1" presStyleCnt="0"/>
      <dgm:spPr/>
    </dgm:pt>
    <dgm:pt modelId="{BCEAD5D8-DACF-48BB-95C0-CABC46CB071F}" type="pres">
      <dgm:prSet presAssocID="{2143AA29-B963-48A3-9ED2-F1DEF1CEAA9C}" presName="spaceBetweenRectangles1" presStyleCnt="0"/>
      <dgm:spPr/>
    </dgm:pt>
    <dgm:pt modelId="{891A20DF-B833-4C29-AD92-7F818661FDD2}" type="pres">
      <dgm:prSet presAssocID="{57BDC8CF-0BA7-4D26-8D09-C59E8C6ADA62}" presName="composite1" presStyleCnt="0"/>
      <dgm:spPr/>
    </dgm:pt>
    <dgm:pt modelId="{4182F401-DEB3-485A-ABF0-173930C92543}" type="pres">
      <dgm:prSet presAssocID="{57BDC8CF-0BA7-4D26-8D09-C59E8C6ADA62}" presName="parent1" presStyleLbl="alignNode1" presStyleIdx="4" presStyleCnt="11">
        <dgm:presLayoutVars>
          <dgm:chMax val="1"/>
          <dgm:chPref val="1"/>
          <dgm:bulletEnabled val="1"/>
        </dgm:presLayoutVars>
      </dgm:prSet>
      <dgm:spPr/>
    </dgm:pt>
    <dgm:pt modelId="{AE10FA14-EFB0-4B6A-996F-DA410B220BA1}" type="pres">
      <dgm:prSet presAssocID="{57BDC8CF-0BA7-4D26-8D09-C59E8C6ADA62}" presName="Childtext1" presStyleLbl="revTx" presStyleIdx="4" presStyleCnt="11">
        <dgm:presLayoutVars>
          <dgm:bulletEnabled val="1"/>
        </dgm:presLayoutVars>
      </dgm:prSet>
      <dgm:spPr/>
    </dgm:pt>
    <dgm:pt modelId="{06BB8FE6-6687-49F5-864D-A46C1D887FF0}" type="pres">
      <dgm:prSet presAssocID="{57BDC8CF-0BA7-4D26-8D09-C59E8C6ADA62}" presName="ConnectLine1" presStyleLbl="sibTrans1D1" presStyleIdx="4" presStyleCnt="11"/>
      <dgm:spPr>
        <a:noFill/>
        <a:ln w="9525" cap="flat" cmpd="sng" algn="ctr">
          <a:solidFill>
            <a:schemeClr val="accent1">
              <a:hueOff val="0"/>
              <a:satOff val="0"/>
              <a:lumOff val="0"/>
              <a:alphaOff val="0"/>
            </a:schemeClr>
          </a:solidFill>
          <a:prstDash val="dash"/>
        </a:ln>
        <a:effectLst/>
      </dgm:spPr>
    </dgm:pt>
    <dgm:pt modelId="{C70227A6-4B3C-4EB8-98A9-7402EF57BCC6}" type="pres">
      <dgm:prSet presAssocID="{57BDC8CF-0BA7-4D26-8D09-C59E8C6ADA62}" presName="ConnectLineEnd1" presStyleLbl="lnNode1" presStyleIdx="4" presStyleCnt="11"/>
      <dgm:spPr/>
    </dgm:pt>
    <dgm:pt modelId="{ED17E820-F501-432E-963B-6E8C2F1C5BCB}" type="pres">
      <dgm:prSet presAssocID="{57BDC8CF-0BA7-4D26-8D09-C59E8C6ADA62}" presName="EmptyPane1" presStyleCnt="0"/>
      <dgm:spPr/>
    </dgm:pt>
    <dgm:pt modelId="{18849641-72FC-4A09-B321-EE28686F9322}" type="pres">
      <dgm:prSet presAssocID="{E5E0098F-69B9-45D6-A7EC-59498B1AD29B}" presName="spaceBetweenRectangles1" presStyleCnt="0"/>
      <dgm:spPr/>
    </dgm:pt>
    <dgm:pt modelId="{EC7783D1-B9A7-4C51-9AA5-182D0EE3BA13}" type="pres">
      <dgm:prSet presAssocID="{468A4356-1CF0-4C46-A4F9-AAFED833460B}" presName="composite1" presStyleCnt="0"/>
      <dgm:spPr/>
    </dgm:pt>
    <dgm:pt modelId="{6F3235F4-0683-4923-812B-ED830287DA0A}" type="pres">
      <dgm:prSet presAssocID="{468A4356-1CF0-4C46-A4F9-AAFED833460B}" presName="parent1" presStyleLbl="alignNode1" presStyleIdx="5" presStyleCnt="11">
        <dgm:presLayoutVars>
          <dgm:chMax val="1"/>
          <dgm:chPref val="1"/>
          <dgm:bulletEnabled val="1"/>
        </dgm:presLayoutVars>
      </dgm:prSet>
      <dgm:spPr/>
    </dgm:pt>
    <dgm:pt modelId="{B2FD13B9-5825-4FF1-AC88-080E3BB2528A}" type="pres">
      <dgm:prSet presAssocID="{468A4356-1CF0-4C46-A4F9-AAFED833460B}" presName="Childtext1" presStyleLbl="revTx" presStyleIdx="5" presStyleCnt="11">
        <dgm:presLayoutVars>
          <dgm:bulletEnabled val="1"/>
        </dgm:presLayoutVars>
      </dgm:prSet>
      <dgm:spPr/>
    </dgm:pt>
    <dgm:pt modelId="{457940D4-FD75-44A9-BEE3-3B9879494F05}" type="pres">
      <dgm:prSet presAssocID="{468A4356-1CF0-4C46-A4F9-AAFED833460B}" presName="ConnectLine1" presStyleLbl="sibTrans1D1" presStyleIdx="5" presStyleCnt="11"/>
      <dgm:spPr>
        <a:noFill/>
        <a:ln w="9525" cap="flat" cmpd="sng" algn="ctr">
          <a:solidFill>
            <a:schemeClr val="accent1">
              <a:hueOff val="0"/>
              <a:satOff val="0"/>
              <a:lumOff val="0"/>
              <a:alphaOff val="0"/>
            </a:schemeClr>
          </a:solidFill>
          <a:prstDash val="dash"/>
        </a:ln>
        <a:effectLst/>
      </dgm:spPr>
    </dgm:pt>
    <dgm:pt modelId="{14B716A4-5584-497D-BC22-BF8AC72EF7BC}" type="pres">
      <dgm:prSet presAssocID="{468A4356-1CF0-4C46-A4F9-AAFED833460B}" presName="ConnectLineEnd1" presStyleLbl="lnNode1" presStyleIdx="5" presStyleCnt="11"/>
      <dgm:spPr/>
    </dgm:pt>
    <dgm:pt modelId="{FAAD80A1-51AF-43CC-AD98-FDE1433C2EAF}" type="pres">
      <dgm:prSet presAssocID="{468A4356-1CF0-4C46-A4F9-AAFED833460B}" presName="EmptyPane1" presStyleCnt="0"/>
      <dgm:spPr/>
    </dgm:pt>
    <dgm:pt modelId="{1A4F51E1-AF84-491C-8F3D-4C944BA222A4}" type="pres">
      <dgm:prSet presAssocID="{290A3A26-9A80-4D0B-8794-71FC05387F44}" presName="spaceBetweenRectangles1" presStyleCnt="0"/>
      <dgm:spPr/>
    </dgm:pt>
    <dgm:pt modelId="{995E51C8-ABB7-4396-BADB-921767E04C1A}" type="pres">
      <dgm:prSet presAssocID="{EB669B84-D831-472E-8265-7F6B80F86771}" presName="composite1" presStyleCnt="0"/>
      <dgm:spPr/>
    </dgm:pt>
    <dgm:pt modelId="{C6A9158A-BBFA-4DED-813A-1F0F318FE29F}" type="pres">
      <dgm:prSet presAssocID="{EB669B84-D831-472E-8265-7F6B80F86771}" presName="parent1" presStyleLbl="alignNode1" presStyleIdx="6" presStyleCnt="11">
        <dgm:presLayoutVars>
          <dgm:chMax val="1"/>
          <dgm:chPref val="1"/>
          <dgm:bulletEnabled val="1"/>
        </dgm:presLayoutVars>
      </dgm:prSet>
      <dgm:spPr/>
    </dgm:pt>
    <dgm:pt modelId="{8105213B-9B2C-4D83-9F1B-EF70780348BA}" type="pres">
      <dgm:prSet presAssocID="{EB669B84-D831-472E-8265-7F6B80F86771}" presName="Childtext1" presStyleLbl="revTx" presStyleIdx="6" presStyleCnt="11">
        <dgm:presLayoutVars>
          <dgm:bulletEnabled val="1"/>
        </dgm:presLayoutVars>
      </dgm:prSet>
      <dgm:spPr/>
    </dgm:pt>
    <dgm:pt modelId="{7102E1E0-B7C3-4F76-9491-A3B3966921CA}" type="pres">
      <dgm:prSet presAssocID="{EB669B84-D831-472E-8265-7F6B80F86771}" presName="ConnectLine1" presStyleLbl="sibTrans1D1" presStyleIdx="6" presStyleCnt="11"/>
      <dgm:spPr>
        <a:noFill/>
        <a:ln w="12700" cap="flat" cmpd="sng" algn="ctr">
          <a:solidFill>
            <a:schemeClr val="accent1">
              <a:hueOff val="0"/>
              <a:satOff val="0"/>
              <a:lumOff val="0"/>
              <a:alphaOff val="0"/>
            </a:schemeClr>
          </a:solidFill>
          <a:prstDash val="dash"/>
        </a:ln>
        <a:effectLst/>
      </dgm:spPr>
    </dgm:pt>
    <dgm:pt modelId="{DD1A325B-39E0-401C-8088-588A028688CE}" type="pres">
      <dgm:prSet presAssocID="{EB669B84-D831-472E-8265-7F6B80F86771}" presName="ConnectLineEnd1" presStyleLbl="lnNode1" presStyleIdx="6" presStyleCnt="11"/>
      <dgm:spPr/>
    </dgm:pt>
    <dgm:pt modelId="{F5651F38-BA2C-4413-9222-4693F958F28F}" type="pres">
      <dgm:prSet presAssocID="{EB669B84-D831-472E-8265-7F6B80F86771}" presName="EmptyPane1" presStyleCnt="0"/>
      <dgm:spPr/>
    </dgm:pt>
    <dgm:pt modelId="{FAB4E4F9-F125-48C6-8D09-CED9C80D9184}" type="pres">
      <dgm:prSet presAssocID="{ED806E8B-4FE0-424B-B797-EC7AE4582E63}" presName="spaceBetweenRectangles1" presStyleCnt="0"/>
      <dgm:spPr/>
    </dgm:pt>
    <dgm:pt modelId="{E5ACC412-2FBD-44C2-9121-B3EB973E5C66}" type="pres">
      <dgm:prSet presAssocID="{9B50AE85-DEA1-41F3-9C2C-24A18069C473}" presName="composite1" presStyleCnt="0"/>
      <dgm:spPr/>
    </dgm:pt>
    <dgm:pt modelId="{DF71F57E-D542-4163-95B1-92B1B114497F}" type="pres">
      <dgm:prSet presAssocID="{9B50AE85-DEA1-41F3-9C2C-24A18069C473}" presName="parent1" presStyleLbl="alignNode1" presStyleIdx="7" presStyleCnt="11">
        <dgm:presLayoutVars>
          <dgm:chMax val="1"/>
          <dgm:chPref val="1"/>
          <dgm:bulletEnabled val="1"/>
        </dgm:presLayoutVars>
      </dgm:prSet>
      <dgm:spPr/>
    </dgm:pt>
    <dgm:pt modelId="{C0317DA2-D763-4621-9680-990E0F78E293}" type="pres">
      <dgm:prSet presAssocID="{9B50AE85-DEA1-41F3-9C2C-24A18069C473}" presName="Childtext1" presStyleLbl="revTx" presStyleIdx="7" presStyleCnt="11">
        <dgm:presLayoutVars>
          <dgm:bulletEnabled val="1"/>
        </dgm:presLayoutVars>
      </dgm:prSet>
      <dgm:spPr/>
    </dgm:pt>
    <dgm:pt modelId="{6898D4C1-54F6-4DA4-9607-F444437C8E6E}" type="pres">
      <dgm:prSet presAssocID="{9B50AE85-DEA1-41F3-9C2C-24A18069C473}" presName="ConnectLine1" presStyleLbl="sibTrans1D1" presStyleIdx="7" presStyleCnt="11"/>
      <dgm:spPr>
        <a:noFill/>
        <a:ln w="12700" cap="flat" cmpd="sng" algn="ctr">
          <a:solidFill>
            <a:schemeClr val="accent1">
              <a:hueOff val="0"/>
              <a:satOff val="0"/>
              <a:lumOff val="0"/>
              <a:alphaOff val="0"/>
            </a:schemeClr>
          </a:solidFill>
          <a:prstDash val="dash"/>
        </a:ln>
        <a:effectLst/>
      </dgm:spPr>
    </dgm:pt>
    <dgm:pt modelId="{D73D486C-1D43-4208-9FD9-CC7C2550C1E8}" type="pres">
      <dgm:prSet presAssocID="{9B50AE85-DEA1-41F3-9C2C-24A18069C473}" presName="ConnectLineEnd1" presStyleLbl="lnNode1" presStyleIdx="7" presStyleCnt="11"/>
      <dgm:spPr/>
    </dgm:pt>
    <dgm:pt modelId="{4E7CBB81-AC5E-4EE7-85AC-B9C4581F507F}" type="pres">
      <dgm:prSet presAssocID="{9B50AE85-DEA1-41F3-9C2C-24A18069C473}" presName="EmptyPane1" presStyleCnt="0"/>
      <dgm:spPr/>
    </dgm:pt>
    <dgm:pt modelId="{CDBD900D-671A-4B7A-AEE1-255109BAB918}" type="pres">
      <dgm:prSet presAssocID="{12A4AEA8-BC1D-4ADD-8236-A533A455F22E}" presName="spaceBetweenRectangles1" presStyleCnt="0"/>
      <dgm:spPr/>
    </dgm:pt>
    <dgm:pt modelId="{53484DED-F74E-4B4E-9E8B-3F206A29DEDD}" type="pres">
      <dgm:prSet presAssocID="{B157653D-2397-47E3-94A8-8E8B13726408}" presName="composite1" presStyleCnt="0"/>
      <dgm:spPr/>
    </dgm:pt>
    <dgm:pt modelId="{C0D22B8F-54BF-4FAE-9F7C-B58FA74468D0}" type="pres">
      <dgm:prSet presAssocID="{B157653D-2397-47E3-94A8-8E8B13726408}" presName="parent1" presStyleLbl="alignNode1" presStyleIdx="8" presStyleCnt="11">
        <dgm:presLayoutVars>
          <dgm:chMax val="1"/>
          <dgm:chPref val="1"/>
          <dgm:bulletEnabled val="1"/>
        </dgm:presLayoutVars>
      </dgm:prSet>
      <dgm:spPr/>
    </dgm:pt>
    <dgm:pt modelId="{E1F35975-00CA-4B74-AB7C-CD8812C99AEF}" type="pres">
      <dgm:prSet presAssocID="{B157653D-2397-47E3-94A8-8E8B13726408}" presName="Childtext1" presStyleLbl="revTx" presStyleIdx="8" presStyleCnt="11">
        <dgm:presLayoutVars>
          <dgm:bulletEnabled val="1"/>
        </dgm:presLayoutVars>
      </dgm:prSet>
      <dgm:spPr/>
    </dgm:pt>
    <dgm:pt modelId="{152FB453-AA1C-4C6D-86AE-2A7A4BF73B8B}" type="pres">
      <dgm:prSet presAssocID="{B157653D-2397-47E3-94A8-8E8B13726408}" presName="ConnectLine1" presStyleLbl="sibTrans1D1" presStyleIdx="8" presStyleCnt="11"/>
      <dgm:spPr>
        <a:noFill/>
        <a:ln w="12700" cap="flat" cmpd="sng" algn="ctr">
          <a:solidFill>
            <a:schemeClr val="accent1">
              <a:hueOff val="0"/>
              <a:satOff val="0"/>
              <a:lumOff val="0"/>
              <a:alphaOff val="0"/>
            </a:schemeClr>
          </a:solidFill>
          <a:prstDash val="dash"/>
        </a:ln>
        <a:effectLst/>
      </dgm:spPr>
    </dgm:pt>
    <dgm:pt modelId="{BC9CEA29-8429-48CF-B30A-81626D4345E2}" type="pres">
      <dgm:prSet presAssocID="{B157653D-2397-47E3-94A8-8E8B13726408}" presName="ConnectLineEnd1" presStyleLbl="lnNode1" presStyleIdx="8" presStyleCnt="11"/>
      <dgm:spPr/>
    </dgm:pt>
    <dgm:pt modelId="{F432CF4A-CFEA-4E45-BD59-26AD14D60A5D}" type="pres">
      <dgm:prSet presAssocID="{B157653D-2397-47E3-94A8-8E8B13726408}" presName="EmptyPane1" presStyleCnt="0"/>
      <dgm:spPr/>
    </dgm:pt>
    <dgm:pt modelId="{54C24B14-3382-4169-9932-5867C1A9873B}" type="pres">
      <dgm:prSet presAssocID="{C11CD3A4-ED92-4609-A589-8DA6272582F8}" presName="spaceBetweenRectangles1" presStyleCnt="0"/>
      <dgm:spPr/>
    </dgm:pt>
    <dgm:pt modelId="{91A34E5A-D2E8-486A-B265-8AB0F5525CDD}" type="pres">
      <dgm:prSet presAssocID="{DAAB3786-E5BA-4FAC-914C-5B2C0473357A}" presName="composite1" presStyleCnt="0"/>
      <dgm:spPr/>
    </dgm:pt>
    <dgm:pt modelId="{78DE6E8B-1AD8-4589-8403-CC36F244C7A0}" type="pres">
      <dgm:prSet presAssocID="{DAAB3786-E5BA-4FAC-914C-5B2C0473357A}" presName="parent1" presStyleLbl="alignNode1" presStyleIdx="9" presStyleCnt="11">
        <dgm:presLayoutVars>
          <dgm:chMax val="1"/>
          <dgm:chPref val="1"/>
          <dgm:bulletEnabled val="1"/>
        </dgm:presLayoutVars>
      </dgm:prSet>
      <dgm:spPr/>
    </dgm:pt>
    <dgm:pt modelId="{3A2512A2-1E50-4C2E-BED4-DFD497B33F43}" type="pres">
      <dgm:prSet presAssocID="{DAAB3786-E5BA-4FAC-914C-5B2C0473357A}" presName="Childtext1" presStyleLbl="revTx" presStyleIdx="9" presStyleCnt="11">
        <dgm:presLayoutVars>
          <dgm:bulletEnabled val="1"/>
        </dgm:presLayoutVars>
      </dgm:prSet>
      <dgm:spPr/>
    </dgm:pt>
    <dgm:pt modelId="{C56B04B2-029E-43E2-AF74-3C718268F769}" type="pres">
      <dgm:prSet presAssocID="{DAAB3786-E5BA-4FAC-914C-5B2C0473357A}" presName="ConnectLine1" presStyleLbl="sibTrans1D1" presStyleIdx="9" presStyleCnt="11"/>
      <dgm:spPr>
        <a:noFill/>
        <a:ln w="9525" cap="flat" cmpd="sng" algn="ctr">
          <a:solidFill>
            <a:schemeClr val="accent1">
              <a:hueOff val="0"/>
              <a:satOff val="0"/>
              <a:lumOff val="0"/>
              <a:alphaOff val="0"/>
            </a:schemeClr>
          </a:solidFill>
          <a:prstDash val="dash"/>
        </a:ln>
        <a:effectLst/>
      </dgm:spPr>
    </dgm:pt>
    <dgm:pt modelId="{D6292B50-9641-4045-9519-78F1EA4B1AA7}" type="pres">
      <dgm:prSet presAssocID="{DAAB3786-E5BA-4FAC-914C-5B2C0473357A}" presName="ConnectLineEnd1" presStyleLbl="lnNode1" presStyleIdx="9" presStyleCnt="11"/>
      <dgm:spPr/>
    </dgm:pt>
    <dgm:pt modelId="{5EE88676-1C90-4032-B6C7-F7678BF353D6}" type="pres">
      <dgm:prSet presAssocID="{DAAB3786-E5BA-4FAC-914C-5B2C0473357A}" presName="EmptyPane1" presStyleCnt="0"/>
      <dgm:spPr/>
    </dgm:pt>
    <dgm:pt modelId="{4BFC06CD-5CBE-4F41-9323-B4EB270F26A7}" type="pres">
      <dgm:prSet presAssocID="{248DC34E-A767-4283-B57B-A28525AD16CB}" presName="spaceBetweenRectangles1" presStyleCnt="0"/>
      <dgm:spPr/>
    </dgm:pt>
    <dgm:pt modelId="{A0BEAC25-FD2E-4FCC-B803-03E10BF445B9}" type="pres">
      <dgm:prSet presAssocID="{6B7869AD-54CD-443E-9269-95A6919010E7}" presName="composite1" presStyleCnt="0"/>
      <dgm:spPr/>
    </dgm:pt>
    <dgm:pt modelId="{6014BCA6-091B-4DF5-97E7-59AAC2BED10A}" type="pres">
      <dgm:prSet presAssocID="{6B7869AD-54CD-443E-9269-95A6919010E7}" presName="parent1" presStyleLbl="alignNode1" presStyleIdx="10" presStyleCnt="11">
        <dgm:presLayoutVars>
          <dgm:chMax val="1"/>
          <dgm:chPref val="1"/>
          <dgm:bulletEnabled val="1"/>
        </dgm:presLayoutVars>
      </dgm:prSet>
      <dgm:spPr/>
    </dgm:pt>
    <dgm:pt modelId="{9EB9A4EB-2FF2-4800-8AEA-CFD8C2B65D17}" type="pres">
      <dgm:prSet presAssocID="{6B7869AD-54CD-443E-9269-95A6919010E7}" presName="Childtext1" presStyleLbl="revTx" presStyleIdx="10" presStyleCnt="11">
        <dgm:presLayoutVars>
          <dgm:bulletEnabled val="1"/>
        </dgm:presLayoutVars>
      </dgm:prSet>
      <dgm:spPr/>
    </dgm:pt>
    <dgm:pt modelId="{8AE213BA-D8A5-421E-9FDD-0DB9C17245FC}" type="pres">
      <dgm:prSet presAssocID="{6B7869AD-54CD-443E-9269-95A6919010E7}" presName="ConnectLine1" presStyleLbl="sibTrans1D1" presStyleIdx="10" presStyleCnt="11"/>
      <dgm:spPr>
        <a:noFill/>
        <a:ln w="12700" cap="flat" cmpd="sng" algn="ctr">
          <a:solidFill>
            <a:schemeClr val="accent1">
              <a:hueOff val="0"/>
              <a:satOff val="0"/>
              <a:lumOff val="0"/>
              <a:alphaOff val="0"/>
            </a:schemeClr>
          </a:solidFill>
          <a:prstDash val="dash"/>
        </a:ln>
        <a:effectLst/>
      </dgm:spPr>
    </dgm:pt>
    <dgm:pt modelId="{EFA63A6B-0A79-485D-8352-11725A980252}" type="pres">
      <dgm:prSet presAssocID="{6B7869AD-54CD-443E-9269-95A6919010E7}" presName="ConnectLineEnd1" presStyleLbl="lnNode1" presStyleIdx="10" presStyleCnt="11"/>
      <dgm:spPr/>
    </dgm:pt>
    <dgm:pt modelId="{52EF08A6-1E5D-43DE-A28A-986FAA800161}" type="pres">
      <dgm:prSet presAssocID="{6B7869AD-54CD-443E-9269-95A6919010E7}" presName="EmptyPane1" presStyleCnt="0"/>
      <dgm:spPr/>
    </dgm:pt>
  </dgm:ptLst>
  <dgm:cxnLst>
    <dgm:cxn modelId="{C84BFE01-7F09-47C7-A8CC-D0FA599BD798}" type="presOf" srcId="{EB669B84-D831-472E-8265-7F6B80F86771}" destId="{C6A9158A-BBFA-4DED-813A-1F0F318FE29F}" srcOrd="0" destOrd="0" presId="urn:microsoft.com/office/officeart/2016/7/layout/RoundedRectangleTimeline"/>
    <dgm:cxn modelId="{B3F8390D-7784-4AA7-A3FA-3F1D03AF7648}" type="presOf" srcId="{DAAB3786-E5BA-4FAC-914C-5B2C0473357A}" destId="{78DE6E8B-1AD8-4589-8403-CC36F244C7A0}" srcOrd="0" destOrd="0" presId="urn:microsoft.com/office/officeart/2016/7/layout/RoundedRectangleTimeline"/>
    <dgm:cxn modelId="{E50EA410-61F4-443F-B045-5AC0708EA191}" srcId="{9B50AE85-DEA1-41F3-9C2C-24A18069C473}" destId="{82968BA3-DFCC-4B51-ABB1-F1F4791698B0}" srcOrd="0" destOrd="0" parTransId="{B474C1A9-9141-4567-8AA6-A8446206794E}" sibTransId="{8BC987EC-BEB5-4480-B241-99E630336DA8}"/>
    <dgm:cxn modelId="{6BBABA1A-CD5D-4E11-94A7-F09C5D5F7D0A}" srcId="{A86DFA04-31EF-49B6-AFAE-2287858E0303}" destId="{ED02B2BD-99B4-456C-B641-535ECDEEEB30}" srcOrd="2" destOrd="0" parTransId="{118882DA-FDF3-437E-8E5F-C6E63CA8F0C8}" sibTransId="{DB0B47AC-8FA5-491E-8471-6B96DD1F3C62}"/>
    <dgm:cxn modelId="{F32D881D-2001-4611-B87F-DE1E2BFEA434}" srcId="{A86DFA04-31EF-49B6-AFAE-2287858E0303}" destId="{57BDC8CF-0BA7-4D26-8D09-C59E8C6ADA62}" srcOrd="4" destOrd="0" parTransId="{C370DA9E-9D40-42D1-9C94-733250EFE013}" sibTransId="{E5E0098F-69B9-45D6-A7EC-59498B1AD29B}"/>
    <dgm:cxn modelId="{C2D89420-A288-4B91-A283-6AC1567F0B65}" type="presOf" srcId="{468A4356-1CF0-4C46-A4F9-AAFED833460B}" destId="{6F3235F4-0683-4923-812B-ED830287DA0A}" srcOrd="0" destOrd="0" presId="urn:microsoft.com/office/officeart/2016/7/layout/RoundedRectangleTimeline"/>
    <dgm:cxn modelId="{FD043C27-DBEA-47FA-A84B-8983347AF9A0}" srcId="{ED02B2BD-99B4-456C-B641-535ECDEEEB30}" destId="{B1E62C98-7BE9-4E71-BCD4-B7ECF32CD86C}" srcOrd="0" destOrd="0" parTransId="{8A6B4F27-D263-4284-A624-89CE9FBD2DDF}" sibTransId="{F9746AB2-AC77-49A4-A739-E0A19640DDB8}"/>
    <dgm:cxn modelId="{AED1CC2F-C2A3-4A40-80FC-0F8E1651414C}" type="presOf" srcId="{A86DFA04-31EF-49B6-AFAE-2287858E0303}" destId="{EBEA9F54-7364-45F9-829B-BF1EB38AEB12}" srcOrd="0" destOrd="0" presId="urn:microsoft.com/office/officeart/2016/7/layout/RoundedRectangleTimeline"/>
    <dgm:cxn modelId="{4DDC1633-8FDA-4652-8F6E-B33F74D289A1}" type="presOf" srcId="{6B7869AD-54CD-443E-9269-95A6919010E7}" destId="{6014BCA6-091B-4DF5-97E7-59AAC2BED10A}" srcOrd="0" destOrd="0" presId="urn:microsoft.com/office/officeart/2016/7/layout/RoundedRectangleTimeline"/>
    <dgm:cxn modelId="{9FC95439-6FD2-4671-B583-1607DA5F038E}" type="presOf" srcId="{57BDC8CF-0BA7-4D26-8D09-C59E8C6ADA62}" destId="{4182F401-DEB3-485A-ABF0-173930C92543}" srcOrd="0" destOrd="0" presId="urn:microsoft.com/office/officeart/2016/7/layout/RoundedRectangleTimeline"/>
    <dgm:cxn modelId="{9831883A-72CF-49E5-A71E-90FEC0A5320C}" type="presOf" srcId="{82FA384E-B986-4C8A-87F8-88C9AFE2018F}" destId="{E1CE5990-6130-4995-A229-2B2C0AE0B9CC}" srcOrd="0" destOrd="0" presId="urn:microsoft.com/office/officeart/2016/7/layout/RoundedRectangleTimeline"/>
    <dgm:cxn modelId="{0E719E5B-3D8B-44D1-9A7F-38742818F093}" type="presOf" srcId="{0EAF9DB4-80D6-4968-8882-3B4E6FDB3358}" destId="{8105213B-9B2C-4D83-9F1B-EF70780348BA}" srcOrd="0" destOrd="0" presId="urn:microsoft.com/office/officeart/2016/7/layout/RoundedRectangleTimeline"/>
    <dgm:cxn modelId="{FC64AB60-D19C-4D9F-8A6B-168F60142400}" type="presOf" srcId="{75D10119-8178-4EA1-96D6-D343AF5AE7E3}" destId="{8FECFA93-98CD-44A2-820D-CA0382324CAE}" srcOrd="0" destOrd="0" presId="urn:microsoft.com/office/officeart/2016/7/layout/RoundedRectangleTimeline"/>
    <dgm:cxn modelId="{FDD8D741-36CC-4351-ADAD-DB6FC81E1399}" srcId="{43D4E0F1-73A1-47A5-8BD4-7220CA0DBA80}" destId="{75D10119-8178-4EA1-96D6-D343AF5AE7E3}" srcOrd="0" destOrd="0" parTransId="{ACB5D847-D905-4D3B-9B2A-426AF39FB5A2}" sibTransId="{32A40A7E-8AF8-41B4-9963-1ED9D2CE37A0}"/>
    <dgm:cxn modelId="{F66D5C52-40F8-445D-889A-E98E645997DC}" srcId="{EB669B84-D831-472E-8265-7F6B80F86771}" destId="{0EAF9DB4-80D6-4968-8882-3B4E6FDB3358}" srcOrd="0" destOrd="0" parTransId="{4D566221-3A20-4E01-8B43-6B03A97A4B32}" sibTransId="{982A3015-BCD0-486F-994D-D0CDE0B3EE79}"/>
    <dgm:cxn modelId="{2194E274-90DD-4791-AA99-8A8F304FDAA9}" type="presOf" srcId="{ED02B2BD-99B4-456C-B641-535ECDEEEB30}" destId="{A52617F1-8601-4C1C-AC30-C677B16D1B96}" srcOrd="0" destOrd="0" presId="urn:microsoft.com/office/officeart/2016/7/layout/RoundedRectangleTimeline"/>
    <dgm:cxn modelId="{1CBB0F56-2A16-469E-B30F-2E05729C9C4B}" srcId="{B157653D-2397-47E3-94A8-8E8B13726408}" destId="{CFC6C321-565B-4736-9600-0849B35804F7}" srcOrd="0" destOrd="0" parTransId="{E16317D1-6F50-4823-97B7-A2996F0FE94D}" sibTransId="{E552DB50-1B67-4762-89F9-7D3490111E2B}"/>
    <dgm:cxn modelId="{9EF9227C-6DB4-4616-955B-0EB5150B3C11}" srcId="{A86DFA04-31EF-49B6-AFAE-2287858E0303}" destId="{43D4E0F1-73A1-47A5-8BD4-7220CA0DBA80}" srcOrd="0" destOrd="0" parTransId="{3C7F0078-E8A4-4B18-8012-642978A5004B}" sibTransId="{C9A1A56E-C629-4419-AAA2-0AA0884ADF2A}"/>
    <dgm:cxn modelId="{CD8F387D-9221-4EAB-973F-6C85A4D6D821}" type="presOf" srcId="{56C0EB28-66DC-4208-A859-086AE2AF8338}" destId="{FB7B0069-BD1E-4C3F-A5A5-8A803322E330}" srcOrd="0" destOrd="0" presId="urn:microsoft.com/office/officeart/2016/7/layout/RoundedRectangleTimeline"/>
    <dgm:cxn modelId="{E646DC7D-29F0-4ED0-B437-1AF8745B41E4}" type="presOf" srcId="{E5AB99C1-560C-4648-BE5C-15D10D5E4C54}" destId="{9EB9A4EB-2FF2-4800-8AEA-CFD8C2B65D17}" srcOrd="0" destOrd="1" presId="urn:microsoft.com/office/officeart/2016/7/layout/RoundedRectangleTimeline"/>
    <dgm:cxn modelId="{1372AC7E-4F3A-4524-A381-0ECB5D0ECB52}" type="presOf" srcId="{43D4E0F1-73A1-47A5-8BD4-7220CA0DBA80}" destId="{0AE93CFE-4E3D-43B8-83B2-F1A89B0CE6C9}" srcOrd="0" destOrd="0" presId="urn:microsoft.com/office/officeart/2016/7/layout/RoundedRectangleTimeline"/>
    <dgm:cxn modelId="{054BAC83-AAD4-4F3C-B1E1-37BC77D5582A}" srcId="{57BDC8CF-0BA7-4D26-8D09-C59E8C6ADA62}" destId="{3788CAA6-FCA1-4709-BB17-710D8A104833}" srcOrd="1" destOrd="0" parTransId="{2E108392-9276-415D-8BEC-E66FA9514B5B}" sibTransId="{A2801722-8A5E-40C3-9513-ADF6552D0CC2}"/>
    <dgm:cxn modelId="{D3EFE38B-1F00-41FD-8745-9CC7FE689B57}" type="presOf" srcId="{9B50AE85-DEA1-41F3-9C2C-24A18069C473}" destId="{DF71F57E-D542-4163-95B1-92B1B114497F}" srcOrd="0" destOrd="0" presId="urn:microsoft.com/office/officeart/2016/7/layout/RoundedRectangleTimeline"/>
    <dgm:cxn modelId="{20D8CE92-2D07-4A59-B821-9D12C4FCA392}" type="presOf" srcId="{B157653D-2397-47E3-94A8-8E8B13726408}" destId="{C0D22B8F-54BF-4FAE-9F7C-B58FA74468D0}" srcOrd="0" destOrd="0" presId="urn:microsoft.com/office/officeart/2016/7/layout/RoundedRectangleTimeline"/>
    <dgm:cxn modelId="{07B3E394-924A-4E99-AC7E-5E7641F79E97}" type="presOf" srcId="{CFC6C321-565B-4736-9600-0849B35804F7}" destId="{E1F35975-00CA-4B74-AB7C-CD8812C99AEF}" srcOrd="0" destOrd="0" presId="urn:microsoft.com/office/officeart/2016/7/layout/RoundedRectangleTimeline"/>
    <dgm:cxn modelId="{69AE9296-1425-4EC6-B2A0-4C68CEC98138}" srcId="{A86DFA04-31EF-49B6-AFAE-2287858E0303}" destId="{468A4356-1CF0-4C46-A4F9-AAFED833460B}" srcOrd="5" destOrd="0" parTransId="{657BF9E4-221B-4F94-91CC-3FEBAC47BFE9}" sibTransId="{290A3A26-9A80-4D0B-8794-71FC05387F44}"/>
    <dgm:cxn modelId="{C93F7597-BD51-4BD8-8228-EB4D92A48BD2}" srcId="{56C0EB28-66DC-4208-A859-086AE2AF8338}" destId="{ED95D9ED-DEAE-469C-94A8-5BE31841D8BC}" srcOrd="0" destOrd="0" parTransId="{B044656B-E961-4C93-8699-93C191AA1D45}" sibTransId="{78F932A4-813E-4FCD-BB97-E5D8B3D1C6D4}"/>
    <dgm:cxn modelId="{A4CE7A9B-B015-4E32-A86C-C3A08970D2FB}" srcId="{A86DFA04-31EF-49B6-AFAE-2287858E0303}" destId="{9B50AE85-DEA1-41F3-9C2C-24A18069C473}" srcOrd="7" destOrd="0" parTransId="{20A9B789-9B22-478C-970C-71496754809B}" sibTransId="{12A4AEA8-BC1D-4ADD-8236-A533A455F22E}"/>
    <dgm:cxn modelId="{C8005A9D-C74E-462B-B167-7C80369D778D}" type="presOf" srcId="{35A3D0AE-D940-4A4C-AE93-263F6230769F}" destId="{B2FD13B9-5825-4FF1-AC88-080E3BB2528A}" srcOrd="0" destOrd="0" presId="urn:microsoft.com/office/officeart/2016/7/layout/RoundedRectangleTimeline"/>
    <dgm:cxn modelId="{993CDB9E-B8D2-41CF-8B58-6E417CA03C7C}" srcId="{A86DFA04-31EF-49B6-AFAE-2287858E0303}" destId="{EB669B84-D831-472E-8265-7F6B80F86771}" srcOrd="6" destOrd="0" parTransId="{3A1AD888-7B9D-4FA2-9DBD-890600BE47AE}" sibTransId="{ED806E8B-4FE0-424B-B797-EC7AE4582E63}"/>
    <dgm:cxn modelId="{EEFBF5A7-D8DD-4CDE-BBE4-AC880739A0B3}" srcId="{6B7869AD-54CD-443E-9269-95A6919010E7}" destId="{E5AB99C1-560C-4648-BE5C-15D10D5E4C54}" srcOrd="1" destOrd="0" parTransId="{504F6B22-7609-4107-BFC1-E2A8F9DB073C}" sibTransId="{BF988C39-9E84-464A-A89A-B318AFCA8300}"/>
    <dgm:cxn modelId="{058DB3AD-DE7B-4FF9-A75A-6C3670144005}" srcId="{468A4356-1CF0-4C46-A4F9-AAFED833460B}" destId="{35A3D0AE-D940-4A4C-AE93-263F6230769F}" srcOrd="0" destOrd="0" parTransId="{5F8364AC-DC2B-4AF4-B444-7484FC23C324}" sibTransId="{B66EC7A2-2583-4A60-BAB9-2505E81F6B32}"/>
    <dgm:cxn modelId="{2E947DAE-F96B-453C-80D2-6BE1DB657B51}" type="presOf" srcId="{E310848F-947D-45E3-9903-AA2A79660580}" destId="{3A2512A2-1E50-4C2E-BED4-DFD497B33F43}" srcOrd="0" destOrd="0" presId="urn:microsoft.com/office/officeart/2016/7/layout/RoundedRectangleTimeline"/>
    <dgm:cxn modelId="{4FE8B9BE-279E-40EF-80FE-73EB8B1E54AD}" srcId="{A86DFA04-31EF-49B6-AFAE-2287858E0303}" destId="{56C0EB28-66DC-4208-A859-086AE2AF8338}" srcOrd="1" destOrd="0" parTransId="{19C974B5-2C4E-4F65-8450-95324E987F8C}" sibTransId="{E22E526B-FC2C-403B-8FD0-FF82150224E8}"/>
    <dgm:cxn modelId="{E76222C0-C7F4-420F-BD86-1EC61DA67A29}" type="presOf" srcId="{5DAA349C-8974-471D-A2CE-D3A3F4AA34C2}" destId="{744DF757-1C96-491A-8F96-9BE62991D121}" srcOrd="0" destOrd="0" presId="urn:microsoft.com/office/officeart/2016/7/layout/RoundedRectangleTimeline"/>
    <dgm:cxn modelId="{00C74DC1-ACB2-445A-8CC8-64D51F957D13}" srcId="{A86DFA04-31EF-49B6-AFAE-2287858E0303}" destId="{82FA384E-B986-4C8A-87F8-88C9AFE2018F}" srcOrd="3" destOrd="0" parTransId="{EB4E4849-EACD-42B4-8E5E-46EF3DDDDE9D}" sibTransId="{2143AA29-B963-48A3-9ED2-F1DEF1CEAA9C}"/>
    <dgm:cxn modelId="{660A76C8-6A99-4BEF-B8E8-FF87C366E9DE}" type="presOf" srcId="{3180D3BD-BB02-4168-A902-75926E95388B}" destId="{9EB9A4EB-2FF2-4800-8AEA-CFD8C2B65D17}" srcOrd="0" destOrd="0" presId="urn:microsoft.com/office/officeart/2016/7/layout/RoundedRectangleTimeline"/>
    <dgm:cxn modelId="{560B07D0-2CDE-4456-94AA-17D93DA67CD8}" type="presOf" srcId="{2E6EA0A6-F02E-4A01-88E2-67B3126C4D98}" destId="{AE10FA14-EFB0-4B6A-996F-DA410B220BA1}" srcOrd="0" destOrd="0" presId="urn:microsoft.com/office/officeart/2016/7/layout/RoundedRectangleTimeline"/>
    <dgm:cxn modelId="{110F2ED0-19D7-41D2-B9AC-7040A0ACE34F}" srcId="{6B7869AD-54CD-443E-9269-95A6919010E7}" destId="{3180D3BD-BB02-4168-A902-75926E95388B}" srcOrd="0" destOrd="0" parTransId="{2EFAE699-FD95-4081-B19C-734A9E8BFAFC}" sibTransId="{76E32D02-E289-4905-A451-A1A2B73A920D}"/>
    <dgm:cxn modelId="{FD7BE0D2-1C92-4C32-86CA-B1D0C6914773}" srcId="{A86DFA04-31EF-49B6-AFAE-2287858E0303}" destId="{6B7869AD-54CD-443E-9269-95A6919010E7}" srcOrd="10" destOrd="0" parTransId="{10BFAE19-F378-4635-9658-F970608DD644}" sibTransId="{8910EF4A-60A7-4962-B3C4-BCBEBE91F592}"/>
    <dgm:cxn modelId="{BF1B8ED5-753D-44A9-8F8B-7BA38941BD11}" type="presOf" srcId="{9F53CCBB-20A6-47FD-BC24-D93009BA4049}" destId="{E1F35975-00CA-4B74-AB7C-CD8812C99AEF}" srcOrd="0" destOrd="1" presId="urn:microsoft.com/office/officeart/2016/7/layout/RoundedRectangleTimeline"/>
    <dgm:cxn modelId="{2E4F88D6-43A6-41FF-8C04-FEAA2FDEE062}" srcId="{82FA384E-B986-4C8A-87F8-88C9AFE2018F}" destId="{5DAA349C-8974-471D-A2CE-D3A3F4AA34C2}" srcOrd="0" destOrd="0" parTransId="{702C193A-2538-48CE-B9B6-0360EF089911}" sibTransId="{D5CB926F-EC09-483C-AEEB-73E1938562BE}"/>
    <dgm:cxn modelId="{802EE7D8-436B-42C9-A4F6-04AE2027CC09}" srcId="{DAAB3786-E5BA-4FAC-914C-5B2C0473357A}" destId="{E310848F-947D-45E3-9903-AA2A79660580}" srcOrd="0" destOrd="0" parTransId="{627C51AB-0877-459C-B34C-5D4AE4B0DD82}" sibTransId="{6B5F36E5-3954-429E-9E15-DA05748A72C4}"/>
    <dgm:cxn modelId="{4B0A21DD-47DB-478D-B2E4-DF55B81BC5F7}" type="presOf" srcId="{ED95D9ED-DEAE-469C-94A8-5BE31841D8BC}" destId="{399EBD78-E611-443E-AECA-3687D3841A26}" srcOrd="0" destOrd="0" presId="urn:microsoft.com/office/officeart/2016/7/layout/RoundedRectangleTimeline"/>
    <dgm:cxn modelId="{FB4F8EE2-9FD1-42FE-A78B-6D16D6D5F753}" type="presOf" srcId="{3788CAA6-FCA1-4709-BB17-710D8A104833}" destId="{AE10FA14-EFB0-4B6A-996F-DA410B220BA1}" srcOrd="0" destOrd="1" presId="urn:microsoft.com/office/officeart/2016/7/layout/RoundedRectangleTimeline"/>
    <dgm:cxn modelId="{55F7E3E3-7131-40D9-B444-8CDEA2651165}" srcId="{57BDC8CF-0BA7-4D26-8D09-C59E8C6ADA62}" destId="{2E6EA0A6-F02E-4A01-88E2-67B3126C4D98}" srcOrd="0" destOrd="0" parTransId="{C3B63567-5FE6-46D9-A11C-D072E1A262D4}" sibTransId="{61C59F86-14F7-4C98-B036-7B166D6CDC1A}"/>
    <dgm:cxn modelId="{950692EB-01A7-4BA3-A03C-6D1E2A5F26EE}" srcId="{A86DFA04-31EF-49B6-AFAE-2287858E0303}" destId="{B157653D-2397-47E3-94A8-8E8B13726408}" srcOrd="8" destOrd="0" parTransId="{7C340691-872A-42EE-977C-5B833001E6A0}" sibTransId="{C11CD3A4-ED92-4609-A589-8DA6272582F8}"/>
    <dgm:cxn modelId="{E50527ED-4C66-4C88-8533-6858E9524626}" srcId="{B157653D-2397-47E3-94A8-8E8B13726408}" destId="{9F53CCBB-20A6-47FD-BC24-D93009BA4049}" srcOrd="1" destOrd="0" parTransId="{588D061F-35EC-4AA4-939C-74E44A303F06}" sibTransId="{E77F0583-37D6-403C-B64E-7DB028B56914}"/>
    <dgm:cxn modelId="{663B04F7-37CE-446E-978B-780B1A2B1CC3}" type="presOf" srcId="{B1E62C98-7BE9-4E71-BCD4-B7ECF32CD86C}" destId="{60E006DA-4418-4AF1-AA95-0601A40B1D18}" srcOrd="0" destOrd="0" presId="urn:microsoft.com/office/officeart/2016/7/layout/RoundedRectangleTimeline"/>
    <dgm:cxn modelId="{4904A7FC-A3EC-4637-965B-FB11F9D6FF97}" srcId="{A86DFA04-31EF-49B6-AFAE-2287858E0303}" destId="{DAAB3786-E5BA-4FAC-914C-5B2C0473357A}" srcOrd="9" destOrd="0" parTransId="{1C17CEED-4B68-453F-9CF9-46AD9C73FD69}" sibTransId="{248DC34E-A767-4283-B57B-A28525AD16CB}"/>
    <dgm:cxn modelId="{D9D51CFE-E223-4A82-83D4-CCF2F6A69193}" type="presOf" srcId="{82968BA3-DFCC-4B51-ABB1-F1F4791698B0}" destId="{C0317DA2-D763-4621-9680-990E0F78E293}" srcOrd="0" destOrd="0" presId="urn:microsoft.com/office/officeart/2016/7/layout/RoundedRectangleTimeline"/>
    <dgm:cxn modelId="{8449A91A-4FF0-470D-A27B-102BB4E96E07}" type="presParOf" srcId="{EBEA9F54-7364-45F9-829B-BF1EB38AEB12}" destId="{AD58AE04-740E-49D5-BC71-4DFEC731C46A}" srcOrd="0" destOrd="0" presId="urn:microsoft.com/office/officeart/2016/7/layout/RoundedRectangleTimeline"/>
    <dgm:cxn modelId="{FCDD58F1-E315-4C2B-9D63-9D8292B64443}" type="presParOf" srcId="{AD58AE04-740E-49D5-BC71-4DFEC731C46A}" destId="{0AE93CFE-4E3D-43B8-83B2-F1A89B0CE6C9}" srcOrd="0" destOrd="0" presId="urn:microsoft.com/office/officeart/2016/7/layout/RoundedRectangleTimeline"/>
    <dgm:cxn modelId="{02CCA293-646B-4638-8B4D-A73AE58DEF16}" type="presParOf" srcId="{AD58AE04-740E-49D5-BC71-4DFEC731C46A}" destId="{8FECFA93-98CD-44A2-820D-CA0382324CAE}" srcOrd="1" destOrd="0" presId="urn:microsoft.com/office/officeart/2016/7/layout/RoundedRectangleTimeline"/>
    <dgm:cxn modelId="{2AE0F8E8-0DBB-4F55-AFDC-EC0B66D7CAB2}" type="presParOf" srcId="{AD58AE04-740E-49D5-BC71-4DFEC731C46A}" destId="{DE79EB21-0412-43CA-9C53-437EA99BAFF9}" srcOrd="2" destOrd="0" presId="urn:microsoft.com/office/officeart/2016/7/layout/RoundedRectangleTimeline"/>
    <dgm:cxn modelId="{28CB875E-5FE0-4B5C-B16D-AF72164E4672}" type="presParOf" srcId="{AD58AE04-740E-49D5-BC71-4DFEC731C46A}" destId="{63907C1E-9C94-4F79-800C-14D2B9501FDF}" srcOrd="3" destOrd="0" presId="urn:microsoft.com/office/officeart/2016/7/layout/RoundedRectangleTimeline"/>
    <dgm:cxn modelId="{8CC26639-27DA-4D0D-8DB7-4189EBD2C111}" type="presParOf" srcId="{AD58AE04-740E-49D5-BC71-4DFEC731C46A}" destId="{EB7C02B5-7104-40F0-B930-3944FC3DF5C4}" srcOrd="4" destOrd="0" presId="urn:microsoft.com/office/officeart/2016/7/layout/RoundedRectangleTimeline"/>
    <dgm:cxn modelId="{C03FF056-EB0D-44A7-9FC7-2FFC734F3471}" type="presParOf" srcId="{EBEA9F54-7364-45F9-829B-BF1EB38AEB12}" destId="{2D4D3A1B-F615-4E7D-9F3F-97A2C87D022F}" srcOrd="1" destOrd="0" presId="urn:microsoft.com/office/officeart/2016/7/layout/RoundedRectangleTimeline"/>
    <dgm:cxn modelId="{17815E62-78AD-4CD3-A136-58D433143B6D}" type="presParOf" srcId="{EBEA9F54-7364-45F9-829B-BF1EB38AEB12}" destId="{1E0E434B-C551-4AF1-9CB3-080B799953FD}" srcOrd="2" destOrd="0" presId="urn:microsoft.com/office/officeart/2016/7/layout/RoundedRectangleTimeline"/>
    <dgm:cxn modelId="{7F1D8C72-8A98-484C-9BBE-076374528F46}" type="presParOf" srcId="{1E0E434B-C551-4AF1-9CB3-080B799953FD}" destId="{FB7B0069-BD1E-4C3F-A5A5-8A803322E330}" srcOrd="0" destOrd="0" presId="urn:microsoft.com/office/officeart/2016/7/layout/RoundedRectangleTimeline"/>
    <dgm:cxn modelId="{90ABF3E0-DB06-44DB-B8A2-CBA744B3F179}" type="presParOf" srcId="{1E0E434B-C551-4AF1-9CB3-080B799953FD}" destId="{399EBD78-E611-443E-AECA-3687D3841A26}" srcOrd="1" destOrd="0" presId="urn:microsoft.com/office/officeart/2016/7/layout/RoundedRectangleTimeline"/>
    <dgm:cxn modelId="{EA963D13-9495-4AE5-AE6D-F5DFFE2BBF0A}" type="presParOf" srcId="{1E0E434B-C551-4AF1-9CB3-080B799953FD}" destId="{6D0D6526-38D1-4C8B-B351-28419686EAA5}" srcOrd="2" destOrd="0" presId="urn:microsoft.com/office/officeart/2016/7/layout/RoundedRectangleTimeline"/>
    <dgm:cxn modelId="{59FD2F6B-3503-41B5-B324-2847D5C9E026}" type="presParOf" srcId="{1E0E434B-C551-4AF1-9CB3-080B799953FD}" destId="{170C22D6-3C14-4D5C-857E-3EA28D91AECE}" srcOrd="3" destOrd="0" presId="urn:microsoft.com/office/officeart/2016/7/layout/RoundedRectangleTimeline"/>
    <dgm:cxn modelId="{CC4527A9-49C8-40A5-A55C-6009A3120ABF}" type="presParOf" srcId="{1E0E434B-C551-4AF1-9CB3-080B799953FD}" destId="{B9DF5469-82EE-410E-8249-546401CC656A}" srcOrd="4" destOrd="0" presId="urn:microsoft.com/office/officeart/2016/7/layout/RoundedRectangleTimeline"/>
    <dgm:cxn modelId="{42866A03-A28D-488B-B15B-55B733E94D64}" type="presParOf" srcId="{EBEA9F54-7364-45F9-829B-BF1EB38AEB12}" destId="{AF4462E7-65E0-49EA-9777-F8E1564E9966}" srcOrd="3" destOrd="0" presId="urn:microsoft.com/office/officeart/2016/7/layout/RoundedRectangleTimeline"/>
    <dgm:cxn modelId="{BE6CB9E1-C782-4047-A247-D1D2D29AF9F7}" type="presParOf" srcId="{EBEA9F54-7364-45F9-829B-BF1EB38AEB12}" destId="{FBB224A7-115F-434F-B929-BA2845FF2432}" srcOrd="4" destOrd="0" presId="urn:microsoft.com/office/officeart/2016/7/layout/RoundedRectangleTimeline"/>
    <dgm:cxn modelId="{D6ACBF55-74C1-4B22-B6B3-05EE0F78258A}" type="presParOf" srcId="{FBB224A7-115F-434F-B929-BA2845FF2432}" destId="{A52617F1-8601-4C1C-AC30-C677B16D1B96}" srcOrd="0" destOrd="0" presId="urn:microsoft.com/office/officeart/2016/7/layout/RoundedRectangleTimeline"/>
    <dgm:cxn modelId="{55AD33CD-A5AD-4235-8AB9-FE0C6D32F65C}" type="presParOf" srcId="{FBB224A7-115F-434F-B929-BA2845FF2432}" destId="{60E006DA-4418-4AF1-AA95-0601A40B1D18}" srcOrd="1" destOrd="0" presId="urn:microsoft.com/office/officeart/2016/7/layout/RoundedRectangleTimeline"/>
    <dgm:cxn modelId="{EB9F0BB7-AA68-49C1-9D4A-10BF7C91340F}" type="presParOf" srcId="{FBB224A7-115F-434F-B929-BA2845FF2432}" destId="{7D57EAF7-DBEA-4CD9-9024-2310B92FCA87}" srcOrd="2" destOrd="0" presId="urn:microsoft.com/office/officeart/2016/7/layout/RoundedRectangleTimeline"/>
    <dgm:cxn modelId="{35CB9508-ABF5-491C-9831-C2FA96DFAE39}" type="presParOf" srcId="{FBB224A7-115F-434F-B929-BA2845FF2432}" destId="{369C00D7-1780-461A-81E5-9BFF63D7DFE3}" srcOrd="3" destOrd="0" presId="urn:microsoft.com/office/officeart/2016/7/layout/RoundedRectangleTimeline"/>
    <dgm:cxn modelId="{CE8094EF-0696-4522-AC91-BB73375D71FC}" type="presParOf" srcId="{FBB224A7-115F-434F-B929-BA2845FF2432}" destId="{D9C2337D-F29D-4373-8338-B06E2C77977F}" srcOrd="4" destOrd="0" presId="urn:microsoft.com/office/officeart/2016/7/layout/RoundedRectangleTimeline"/>
    <dgm:cxn modelId="{7BFCA5A8-5503-458C-BCC3-6E610BB1711B}" type="presParOf" srcId="{EBEA9F54-7364-45F9-829B-BF1EB38AEB12}" destId="{227C4ABE-4850-46AF-A38B-431E358CA0A5}" srcOrd="5" destOrd="0" presId="urn:microsoft.com/office/officeart/2016/7/layout/RoundedRectangleTimeline"/>
    <dgm:cxn modelId="{0289FBA7-9670-4C7F-A44F-C51C65CEE5D2}" type="presParOf" srcId="{EBEA9F54-7364-45F9-829B-BF1EB38AEB12}" destId="{56C51E4D-0529-41A7-8ECB-FCB11741F50C}" srcOrd="6" destOrd="0" presId="urn:microsoft.com/office/officeart/2016/7/layout/RoundedRectangleTimeline"/>
    <dgm:cxn modelId="{BF652E21-8605-42B8-A934-B5CCC07E9819}" type="presParOf" srcId="{56C51E4D-0529-41A7-8ECB-FCB11741F50C}" destId="{E1CE5990-6130-4995-A229-2B2C0AE0B9CC}" srcOrd="0" destOrd="0" presId="urn:microsoft.com/office/officeart/2016/7/layout/RoundedRectangleTimeline"/>
    <dgm:cxn modelId="{B2AB0A64-0077-4961-9F3F-48CAD20BB971}" type="presParOf" srcId="{56C51E4D-0529-41A7-8ECB-FCB11741F50C}" destId="{744DF757-1C96-491A-8F96-9BE62991D121}" srcOrd="1" destOrd="0" presId="urn:microsoft.com/office/officeart/2016/7/layout/RoundedRectangleTimeline"/>
    <dgm:cxn modelId="{043DA6BE-AB07-4B18-9808-416D6ED6C082}" type="presParOf" srcId="{56C51E4D-0529-41A7-8ECB-FCB11741F50C}" destId="{D489328E-8E15-42E2-B975-D4A81519B11D}" srcOrd="2" destOrd="0" presId="urn:microsoft.com/office/officeart/2016/7/layout/RoundedRectangleTimeline"/>
    <dgm:cxn modelId="{C2A37F6D-3D48-44B4-9968-79E488BC92AB}" type="presParOf" srcId="{56C51E4D-0529-41A7-8ECB-FCB11741F50C}" destId="{6E6D177E-8EA2-4091-A87E-861F482BDE25}" srcOrd="3" destOrd="0" presId="urn:microsoft.com/office/officeart/2016/7/layout/RoundedRectangleTimeline"/>
    <dgm:cxn modelId="{F6738E96-F798-4114-B928-12F49D1BFFF2}" type="presParOf" srcId="{56C51E4D-0529-41A7-8ECB-FCB11741F50C}" destId="{06299C9C-A882-412A-B0BE-D0AAB2DD59EC}" srcOrd="4" destOrd="0" presId="urn:microsoft.com/office/officeart/2016/7/layout/RoundedRectangleTimeline"/>
    <dgm:cxn modelId="{20778C37-C184-4DFE-9CAE-BCD6C555E222}" type="presParOf" srcId="{EBEA9F54-7364-45F9-829B-BF1EB38AEB12}" destId="{BCEAD5D8-DACF-48BB-95C0-CABC46CB071F}" srcOrd="7" destOrd="0" presId="urn:microsoft.com/office/officeart/2016/7/layout/RoundedRectangleTimeline"/>
    <dgm:cxn modelId="{0AFA7179-F55C-4F8D-8C2F-E2D10EB665CA}" type="presParOf" srcId="{EBEA9F54-7364-45F9-829B-BF1EB38AEB12}" destId="{891A20DF-B833-4C29-AD92-7F818661FDD2}" srcOrd="8" destOrd="0" presId="urn:microsoft.com/office/officeart/2016/7/layout/RoundedRectangleTimeline"/>
    <dgm:cxn modelId="{C68A5841-B0E9-4FFA-ADCF-467A1161D7A0}" type="presParOf" srcId="{891A20DF-B833-4C29-AD92-7F818661FDD2}" destId="{4182F401-DEB3-485A-ABF0-173930C92543}" srcOrd="0" destOrd="0" presId="urn:microsoft.com/office/officeart/2016/7/layout/RoundedRectangleTimeline"/>
    <dgm:cxn modelId="{85E5A249-38C5-4420-9302-24E73D9B9B91}" type="presParOf" srcId="{891A20DF-B833-4C29-AD92-7F818661FDD2}" destId="{AE10FA14-EFB0-4B6A-996F-DA410B220BA1}" srcOrd="1" destOrd="0" presId="urn:microsoft.com/office/officeart/2016/7/layout/RoundedRectangleTimeline"/>
    <dgm:cxn modelId="{7EE16384-9848-420A-B262-4EAA86A4D492}" type="presParOf" srcId="{891A20DF-B833-4C29-AD92-7F818661FDD2}" destId="{06BB8FE6-6687-49F5-864D-A46C1D887FF0}" srcOrd="2" destOrd="0" presId="urn:microsoft.com/office/officeart/2016/7/layout/RoundedRectangleTimeline"/>
    <dgm:cxn modelId="{0768DD8A-1F93-4EF5-89CA-4385FF54BF6E}" type="presParOf" srcId="{891A20DF-B833-4C29-AD92-7F818661FDD2}" destId="{C70227A6-4B3C-4EB8-98A9-7402EF57BCC6}" srcOrd="3" destOrd="0" presId="urn:microsoft.com/office/officeart/2016/7/layout/RoundedRectangleTimeline"/>
    <dgm:cxn modelId="{ECE884A3-E358-44B2-A0E1-18B0ACD330B0}" type="presParOf" srcId="{891A20DF-B833-4C29-AD92-7F818661FDD2}" destId="{ED17E820-F501-432E-963B-6E8C2F1C5BCB}" srcOrd="4" destOrd="0" presId="urn:microsoft.com/office/officeart/2016/7/layout/RoundedRectangleTimeline"/>
    <dgm:cxn modelId="{60249DC8-5CFF-4598-9722-7938986912A9}" type="presParOf" srcId="{EBEA9F54-7364-45F9-829B-BF1EB38AEB12}" destId="{18849641-72FC-4A09-B321-EE28686F9322}" srcOrd="9" destOrd="0" presId="urn:microsoft.com/office/officeart/2016/7/layout/RoundedRectangleTimeline"/>
    <dgm:cxn modelId="{7E194B90-935C-4947-92F6-C448583D8F56}" type="presParOf" srcId="{EBEA9F54-7364-45F9-829B-BF1EB38AEB12}" destId="{EC7783D1-B9A7-4C51-9AA5-182D0EE3BA13}" srcOrd="10" destOrd="0" presId="urn:microsoft.com/office/officeart/2016/7/layout/RoundedRectangleTimeline"/>
    <dgm:cxn modelId="{AFD4BDE6-301E-4BC3-A521-9DDDAD0C4D3D}" type="presParOf" srcId="{EC7783D1-B9A7-4C51-9AA5-182D0EE3BA13}" destId="{6F3235F4-0683-4923-812B-ED830287DA0A}" srcOrd="0" destOrd="0" presId="urn:microsoft.com/office/officeart/2016/7/layout/RoundedRectangleTimeline"/>
    <dgm:cxn modelId="{E0A44367-FB37-4D4C-BB7A-598125F7CA97}" type="presParOf" srcId="{EC7783D1-B9A7-4C51-9AA5-182D0EE3BA13}" destId="{B2FD13B9-5825-4FF1-AC88-080E3BB2528A}" srcOrd="1" destOrd="0" presId="urn:microsoft.com/office/officeart/2016/7/layout/RoundedRectangleTimeline"/>
    <dgm:cxn modelId="{35DDFF8B-F292-4620-8FFB-7290D05CAF32}" type="presParOf" srcId="{EC7783D1-B9A7-4C51-9AA5-182D0EE3BA13}" destId="{457940D4-FD75-44A9-BEE3-3B9879494F05}" srcOrd="2" destOrd="0" presId="urn:microsoft.com/office/officeart/2016/7/layout/RoundedRectangleTimeline"/>
    <dgm:cxn modelId="{9E4016AC-8AC3-4F3D-AC44-57DE8CBBEBF0}" type="presParOf" srcId="{EC7783D1-B9A7-4C51-9AA5-182D0EE3BA13}" destId="{14B716A4-5584-497D-BC22-BF8AC72EF7BC}" srcOrd="3" destOrd="0" presId="urn:microsoft.com/office/officeart/2016/7/layout/RoundedRectangleTimeline"/>
    <dgm:cxn modelId="{B7693FAB-C979-4151-BE96-3D2F1EA60E47}" type="presParOf" srcId="{EC7783D1-B9A7-4C51-9AA5-182D0EE3BA13}" destId="{FAAD80A1-51AF-43CC-AD98-FDE1433C2EAF}" srcOrd="4" destOrd="0" presId="urn:microsoft.com/office/officeart/2016/7/layout/RoundedRectangleTimeline"/>
    <dgm:cxn modelId="{6434EC04-24CA-4C2A-BF63-ABC645827839}" type="presParOf" srcId="{EBEA9F54-7364-45F9-829B-BF1EB38AEB12}" destId="{1A4F51E1-AF84-491C-8F3D-4C944BA222A4}" srcOrd="11" destOrd="0" presId="urn:microsoft.com/office/officeart/2016/7/layout/RoundedRectangleTimeline"/>
    <dgm:cxn modelId="{D403E6DE-7780-4760-9222-FAF55FAA6449}" type="presParOf" srcId="{EBEA9F54-7364-45F9-829B-BF1EB38AEB12}" destId="{995E51C8-ABB7-4396-BADB-921767E04C1A}" srcOrd="12" destOrd="0" presId="urn:microsoft.com/office/officeart/2016/7/layout/RoundedRectangleTimeline"/>
    <dgm:cxn modelId="{0AFDC720-6BAC-42CD-A3FC-A736836E6AEF}" type="presParOf" srcId="{995E51C8-ABB7-4396-BADB-921767E04C1A}" destId="{C6A9158A-BBFA-4DED-813A-1F0F318FE29F}" srcOrd="0" destOrd="0" presId="urn:microsoft.com/office/officeart/2016/7/layout/RoundedRectangleTimeline"/>
    <dgm:cxn modelId="{8B481E7D-7B70-4CBC-8DF1-9C517B83FBF0}" type="presParOf" srcId="{995E51C8-ABB7-4396-BADB-921767E04C1A}" destId="{8105213B-9B2C-4D83-9F1B-EF70780348BA}" srcOrd="1" destOrd="0" presId="urn:microsoft.com/office/officeart/2016/7/layout/RoundedRectangleTimeline"/>
    <dgm:cxn modelId="{1669E34F-92E7-4BF6-AF64-E91FEBCC528D}" type="presParOf" srcId="{995E51C8-ABB7-4396-BADB-921767E04C1A}" destId="{7102E1E0-B7C3-4F76-9491-A3B3966921CA}" srcOrd="2" destOrd="0" presId="urn:microsoft.com/office/officeart/2016/7/layout/RoundedRectangleTimeline"/>
    <dgm:cxn modelId="{0B5B73CF-5A86-4838-A527-5ABC376BBF68}" type="presParOf" srcId="{995E51C8-ABB7-4396-BADB-921767E04C1A}" destId="{DD1A325B-39E0-401C-8088-588A028688CE}" srcOrd="3" destOrd="0" presId="urn:microsoft.com/office/officeart/2016/7/layout/RoundedRectangleTimeline"/>
    <dgm:cxn modelId="{47F7BC04-C0B0-4C98-8DE1-F8016A123C6D}" type="presParOf" srcId="{995E51C8-ABB7-4396-BADB-921767E04C1A}" destId="{F5651F38-BA2C-4413-9222-4693F958F28F}" srcOrd="4" destOrd="0" presId="urn:microsoft.com/office/officeart/2016/7/layout/RoundedRectangleTimeline"/>
    <dgm:cxn modelId="{6E31BF25-BBA0-4CE1-9EA6-A8316B0DF7E7}" type="presParOf" srcId="{EBEA9F54-7364-45F9-829B-BF1EB38AEB12}" destId="{FAB4E4F9-F125-48C6-8D09-CED9C80D9184}" srcOrd="13" destOrd="0" presId="urn:microsoft.com/office/officeart/2016/7/layout/RoundedRectangleTimeline"/>
    <dgm:cxn modelId="{0B356D49-6E5B-4D1B-9DF3-8C8796EB99C0}" type="presParOf" srcId="{EBEA9F54-7364-45F9-829B-BF1EB38AEB12}" destId="{E5ACC412-2FBD-44C2-9121-B3EB973E5C66}" srcOrd="14" destOrd="0" presId="urn:microsoft.com/office/officeart/2016/7/layout/RoundedRectangleTimeline"/>
    <dgm:cxn modelId="{98BC8EED-0ABE-422F-B29A-3ED95FF46EFB}" type="presParOf" srcId="{E5ACC412-2FBD-44C2-9121-B3EB973E5C66}" destId="{DF71F57E-D542-4163-95B1-92B1B114497F}" srcOrd="0" destOrd="0" presId="urn:microsoft.com/office/officeart/2016/7/layout/RoundedRectangleTimeline"/>
    <dgm:cxn modelId="{3E6A0A2E-7FD7-4D2A-9BE8-7BD77F03C14F}" type="presParOf" srcId="{E5ACC412-2FBD-44C2-9121-B3EB973E5C66}" destId="{C0317DA2-D763-4621-9680-990E0F78E293}" srcOrd="1" destOrd="0" presId="urn:microsoft.com/office/officeart/2016/7/layout/RoundedRectangleTimeline"/>
    <dgm:cxn modelId="{0B3596E0-515C-452C-9014-28FFDCCDDC30}" type="presParOf" srcId="{E5ACC412-2FBD-44C2-9121-B3EB973E5C66}" destId="{6898D4C1-54F6-4DA4-9607-F444437C8E6E}" srcOrd="2" destOrd="0" presId="urn:microsoft.com/office/officeart/2016/7/layout/RoundedRectangleTimeline"/>
    <dgm:cxn modelId="{A9CDED32-40A9-4681-998E-34C3D4205E5A}" type="presParOf" srcId="{E5ACC412-2FBD-44C2-9121-B3EB973E5C66}" destId="{D73D486C-1D43-4208-9FD9-CC7C2550C1E8}" srcOrd="3" destOrd="0" presId="urn:microsoft.com/office/officeart/2016/7/layout/RoundedRectangleTimeline"/>
    <dgm:cxn modelId="{DD500D97-82E3-4291-AEFC-BB11144A370A}" type="presParOf" srcId="{E5ACC412-2FBD-44C2-9121-B3EB973E5C66}" destId="{4E7CBB81-AC5E-4EE7-85AC-B9C4581F507F}" srcOrd="4" destOrd="0" presId="urn:microsoft.com/office/officeart/2016/7/layout/RoundedRectangleTimeline"/>
    <dgm:cxn modelId="{98F4C3E3-20C5-4A44-BEE5-9E6A1994D4A9}" type="presParOf" srcId="{EBEA9F54-7364-45F9-829B-BF1EB38AEB12}" destId="{CDBD900D-671A-4B7A-AEE1-255109BAB918}" srcOrd="15" destOrd="0" presId="urn:microsoft.com/office/officeart/2016/7/layout/RoundedRectangleTimeline"/>
    <dgm:cxn modelId="{906CE25D-DEB5-4FF4-B3E7-B535A09C4800}" type="presParOf" srcId="{EBEA9F54-7364-45F9-829B-BF1EB38AEB12}" destId="{53484DED-F74E-4B4E-9E8B-3F206A29DEDD}" srcOrd="16" destOrd="0" presId="urn:microsoft.com/office/officeart/2016/7/layout/RoundedRectangleTimeline"/>
    <dgm:cxn modelId="{C121F15A-106A-4BA1-8EB3-21EE5F076F38}" type="presParOf" srcId="{53484DED-F74E-4B4E-9E8B-3F206A29DEDD}" destId="{C0D22B8F-54BF-4FAE-9F7C-B58FA74468D0}" srcOrd="0" destOrd="0" presId="urn:microsoft.com/office/officeart/2016/7/layout/RoundedRectangleTimeline"/>
    <dgm:cxn modelId="{FCB5CE0B-9A2C-4322-BFF2-92950AB09EDC}" type="presParOf" srcId="{53484DED-F74E-4B4E-9E8B-3F206A29DEDD}" destId="{E1F35975-00CA-4B74-AB7C-CD8812C99AEF}" srcOrd="1" destOrd="0" presId="urn:microsoft.com/office/officeart/2016/7/layout/RoundedRectangleTimeline"/>
    <dgm:cxn modelId="{8E1DD684-43F5-420F-BDC1-6AC747B39489}" type="presParOf" srcId="{53484DED-F74E-4B4E-9E8B-3F206A29DEDD}" destId="{152FB453-AA1C-4C6D-86AE-2A7A4BF73B8B}" srcOrd="2" destOrd="0" presId="urn:microsoft.com/office/officeart/2016/7/layout/RoundedRectangleTimeline"/>
    <dgm:cxn modelId="{1FE8405A-8A3D-49CC-8443-BD7EDEE12D2D}" type="presParOf" srcId="{53484DED-F74E-4B4E-9E8B-3F206A29DEDD}" destId="{BC9CEA29-8429-48CF-B30A-81626D4345E2}" srcOrd="3" destOrd="0" presId="urn:microsoft.com/office/officeart/2016/7/layout/RoundedRectangleTimeline"/>
    <dgm:cxn modelId="{61A8D5D7-F9FB-46B1-9FA0-B816AAA1D2DF}" type="presParOf" srcId="{53484DED-F74E-4B4E-9E8B-3F206A29DEDD}" destId="{F432CF4A-CFEA-4E45-BD59-26AD14D60A5D}" srcOrd="4" destOrd="0" presId="urn:microsoft.com/office/officeart/2016/7/layout/RoundedRectangleTimeline"/>
    <dgm:cxn modelId="{D5ECEB2B-0737-441C-8D3C-9681F5E73DC1}" type="presParOf" srcId="{EBEA9F54-7364-45F9-829B-BF1EB38AEB12}" destId="{54C24B14-3382-4169-9932-5867C1A9873B}" srcOrd="17" destOrd="0" presId="urn:microsoft.com/office/officeart/2016/7/layout/RoundedRectangleTimeline"/>
    <dgm:cxn modelId="{FEE96CCD-A905-46AA-BBD4-90422C666DDA}" type="presParOf" srcId="{EBEA9F54-7364-45F9-829B-BF1EB38AEB12}" destId="{91A34E5A-D2E8-486A-B265-8AB0F5525CDD}" srcOrd="18" destOrd="0" presId="urn:microsoft.com/office/officeart/2016/7/layout/RoundedRectangleTimeline"/>
    <dgm:cxn modelId="{043A4F62-391B-43C7-9A64-B35069B06E4E}" type="presParOf" srcId="{91A34E5A-D2E8-486A-B265-8AB0F5525CDD}" destId="{78DE6E8B-1AD8-4589-8403-CC36F244C7A0}" srcOrd="0" destOrd="0" presId="urn:microsoft.com/office/officeart/2016/7/layout/RoundedRectangleTimeline"/>
    <dgm:cxn modelId="{B760EEC7-9FBE-4E3A-B15F-834627F8D363}" type="presParOf" srcId="{91A34E5A-D2E8-486A-B265-8AB0F5525CDD}" destId="{3A2512A2-1E50-4C2E-BED4-DFD497B33F43}" srcOrd="1" destOrd="0" presId="urn:microsoft.com/office/officeart/2016/7/layout/RoundedRectangleTimeline"/>
    <dgm:cxn modelId="{BB2D19B5-E03C-490A-93E3-BBE181B8D93D}" type="presParOf" srcId="{91A34E5A-D2E8-486A-B265-8AB0F5525CDD}" destId="{C56B04B2-029E-43E2-AF74-3C718268F769}" srcOrd="2" destOrd="0" presId="urn:microsoft.com/office/officeart/2016/7/layout/RoundedRectangleTimeline"/>
    <dgm:cxn modelId="{2632C27F-2AA1-4BF5-BA40-AC8353CCA7D7}" type="presParOf" srcId="{91A34E5A-D2E8-486A-B265-8AB0F5525CDD}" destId="{D6292B50-9641-4045-9519-78F1EA4B1AA7}" srcOrd="3" destOrd="0" presId="urn:microsoft.com/office/officeart/2016/7/layout/RoundedRectangleTimeline"/>
    <dgm:cxn modelId="{133F9304-DA9F-4C3D-9A81-1C70FDE3E011}" type="presParOf" srcId="{91A34E5A-D2E8-486A-B265-8AB0F5525CDD}" destId="{5EE88676-1C90-4032-B6C7-F7678BF353D6}" srcOrd="4" destOrd="0" presId="urn:microsoft.com/office/officeart/2016/7/layout/RoundedRectangleTimeline"/>
    <dgm:cxn modelId="{277B58A1-0972-4E99-A03D-97CE436BACF2}" type="presParOf" srcId="{EBEA9F54-7364-45F9-829B-BF1EB38AEB12}" destId="{4BFC06CD-5CBE-4F41-9323-B4EB270F26A7}" srcOrd="19" destOrd="0" presId="urn:microsoft.com/office/officeart/2016/7/layout/RoundedRectangleTimeline"/>
    <dgm:cxn modelId="{1269D6A6-B3C1-4A42-838F-69409D18913F}" type="presParOf" srcId="{EBEA9F54-7364-45F9-829B-BF1EB38AEB12}" destId="{A0BEAC25-FD2E-4FCC-B803-03E10BF445B9}" srcOrd="20" destOrd="0" presId="urn:microsoft.com/office/officeart/2016/7/layout/RoundedRectangleTimeline"/>
    <dgm:cxn modelId="{B6442E6D-AA11-42C3-B73F-157EBCDC2D5B}" type="presParOf" srcId="{A0BEAC25-FD2E-4FCC-B803-03E10BF445B9}" destId="{6014BCA6-091B-4DF5-97E7-59AAC2BED10A}" srcOrd="0" destOrd="0" presId="urn:microsoft.com/office/officeart/2016/7/layout/RoundedRectangleTimeline"/>
    <dgm:cxn modelId="{9AA1727C-1F74-4F3A-A407-50C9D1B23933}" type="presParOf" srcId="{A0BEAC25-FD2E-4FCC-B803-03E10BF445B9}" destId="{9EB9A4EB-2FF2-4800-8AEA-CFD8C2B65D17}" srcOrd="1" destOrd="0" presId="urn:microsoft.com/office/officeart/2016/7/layout/RoundedRectangleTimeline"/>
    <dgm:cxn modelId="{1A34A4FD-FFB1-42E4-8618-487641D0D494}" type="presParOf" srcId="{A0BEAC25-FD2E-4FCC-B803-03E10BF445B9}" destId="{8AE213BA-D8A5-421E-9FDD-0DB9C17245FC}" srcOrd="2" destOrd="0" presId="urn:microsoft.com/office/officeart/2016/7/layout/RoundedRectangleTimeline"/>
    <dgm:cxn modelId="{495D8439-1604-4B3C-88B2-2B5A782B516F}" type="presParOf" srcId="{A0BEAC25-FD2E-4FCC-B803-03E10BF445B9}" destId="{EFA63A6B-0A79-485D-8352-11725A980252}" srcOrd="3" destOrd="0" presId="urn:microsoft.com/office/officeart/2016/7/layout/RoundedRectangleTimeline"/>
    <dgm:cxn modelId="{7625CC27-6A8B-4F09-A2D3-2C2B0820C46A}" type="presParOf" srcId="{A0BEAC25-FD2E-4FCC-B803-03E10BF445B9}" destId="{52EF08A6-1E5D-43DE-A28A-986FAA800161}"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86DFA04-31EF-49B6-AFAE-2287858E0303}" type="doc">
      <dgm:prSet loTypeId="urn:microsoft.com/office/officeart/2016/7/layout/RoundedRectangleTimeline" loCatId="process" qsTypeId="urn:microsoft.com/office/officeart/2005/8/quickstyle/simple1" qsCatId="simple" csTypeId="urn:microsoft.com/office/officeart/2005/8/colors/accent1_2" csCatId="accent1" phldr="1"/>
      <dgm:spPr/>
      <dgm:t>
        <a:bodyPr/>
        <a:lstStyle/>
        <a:p>
          <a:endParaRPr lang="en-US"/>
        </a:p>
      </dgm:t>
    </dgm:pt>
    <dgm:pt modelId="{43D4E0F1-73A1-47A5-8BD4-7220CA0DBA80}">
      <dgm:prSet/>
      <dgm:spPr/>
      <dgm:t>
        <a:bodyPr/>
        <a:lstStyle/>
        <a:p>
          <a:r>
            <a:rPr lang="en-US" dirty="0">
              <a:solidFill>
                <a:schemeClr val="tx1"/>
              </a:solidFill>
            </a:rPr>
            <a:t>January 31, 2022</a:t>
          </a:r>
        </a:p>
      </dgm:t>
    </dgm:pt>
    <dgm:pt modelId="{3C7F0078-E8A4-4B18-8012-642978A5004B}" type="parTrans" cxnId="{9EF9227C-6DB4-4616-955B-0EB5150B3C11}">
      <dgm:prSet/>
      <dgm:spPr/>
      <dgm:t>
        <a:bodyPr/>
        <a:lstStyle/>
        <a:p>
          <a:endParaRPr lang="en-US"/>
        </a:p>
      </dgm:t>
    </dgm:pt>
    <dgm:pt modelId="{C9A1A56E-C629-4419-AAA2-0AA0884ADF2A}" type="sibTrans" cxnId="{9EF9227C-6DB4-4616-955B-0EB5150B3C11}">
      <dgm:prSet/>
      <dgm:spPr/>
      <dgm:t>
        <a:bodyPr/>
        <a:lstStyle/>
        <a:p>
          <a:endParaRPr lang="en-US"/>
        </a:p>
      </dgm:t>
    </dgm:pt>
    <dgm:pt modelId="{75D10119-8178-4EA1-96D6-D343AF5AE7E3}">
      <dgm:prSet/>
      <dgm:spPr/>
      <dgm:t>
        <a:bodyPr/>
        <a:lstStyle/>
        <a:p>
          <a:r>
            <a:rPr lang="en-US" dirty="0">
              <a:solidFill>
                <a:schemeClr val="tx1"/>
              </a:solidFill>
            </a:rPr>
            <a:t>Hiring of Staff’s</a:t>
          </a:r>
        </a:p>
      </dgm:t>
    </dgm:pt>
    <dgm:pt modelId="{ACB5D847-D905-4D3B-9B2A-426AF39FB5A2}" type="parTrans" cxnId="{FDD8D741-36CC-4351-ADAD-DB6FC81E1399}">
      <dgm:prSet/>
      <dgm:spPr/>
      <dgm:t>
        <a:bodyPr/>
        <a:lstStyle/>
        <a:p>
          <a:endParaRPr lang="en-US"/>
        </a:p>
      </dgm:t>
    </dgm:pt>
    <dgm:pt modelId="{32A40A7E-8AF8-41B4-9963-1ED9D2CE37A0}" type="sibTrans" cxnId="{FDD8D741-36CC-4351-ADAD-DB6FC81E1399}">
      <dgm:prSet/>
      <dgm:spPr/>
      <dgm:t>
        <a:bodyPr/>
        <a:lstStyle/>
        <a:p>
          <a:endParaRPr lang="en-US"/>
        </a:p>
      </dgm:t>
    </dgm:pt>
    <dgm:pt modelId="{56C0EB28-66DC-4208-A859-086AE2AF8338}">
      <dgm:prSet/>
      <dgm:spPr/>
      <dgm:t>
        <a:bodyPr/>
        <a:lstStyle/>
        <a:p>
          <a:r>
            <a:rPr lang="en-US" dirty="0">
              <a:solidFill>
                <a:schemeClr val="tx1"/>
              </a:solidFill>
            </a:rPr>
            <a:t>February 7, 2022</a:t>
          </a:r>
          <a:endParaRPr lang="en-US" b="0" dirty="0">
            <a:solidFill>
              <a:schemeClr val="tx1"/>
            </a:solidFill>
          </a:endParaRPr>
        </a:p>
      </dgm:t>
    </dgm:pt>
    <dgm:pt modelId="{19C974B5-2C4E-4F65-8450-95324E987F8C}" type="parTrans" cxnId="{4FE8B9BE-279E-40EF-80FE-73EB8B1E54AD}">
      <dgm:prSet/>
      <dgm:spPr/>
      <dgm:t>
        <a:bodyPr/>
        <a:lstStyle/>
        <a:p>
          <a:endParaRPr lang="en-US"/>
        </a:p>
      </dgm:t>
    </dgm:pt>
    <dgm:pt modelId="{E22E526B-FC2C-403B-8FD0-FF82150224E8}" type="sibTrans" cxnId="{4FE8B9BE-279E-40EF-80FE-73EB8B1E54AD}">
      <dgm:prSet/>
      <dgm:spPr/>
      <dgm:t>
        <a:bodyPr/>
        <a:lstStyle/>
        <a:p>
          <a:endParaRPr lang="en-US"/>
        </a:p>
      </dgm:t>
    </dgm:pt>
    <dgm:pt modelId="{ED95D9ED-DEAE-469C-94A8-5BE31841D8BC}">
      <dgm:prSet/>
      <dgm:spPr/>
      <dgm:t>
        <a:bodyPr/>
        <a:lstStyle/>
        <a:p>
          <a:r>
            <a:rPr lang="en-US" b="0" dirty="0">
              <a:solidFill>
                <a:schemeClr val="tx1"/>
              </a:solidFill>
            </a:rPr>
            <a:t>Contract with Vendor for Procurement of Vehicle</a:t>
          </a:r>
        </a:p>
      </dgm:t>
    </dgm:pt>
    <dgm:pt modelId="{B044656B-E961-4C93-8699-93C191AA1D45}" type="parTrans" cxnId="{C93F7597-BD51-4BD8-8228-EB4D92A48BD2}">
      <dgm:prSet/>
      <dgm:spPr/>
      <dgm:t>
        <a:bodyPr/>
        <a:lstStyle/>
        <a:p>
          <a:endParaRPr lang="en-US"/>
        </a:p>
      </dgm:t>
    </dgm:pt>
    <dgm:pt modelId="{78F932A4-813E-4FCD-BB97-E5D8B3D1C6D4}" type="sibTrans" cxnId="{C93F7597-BD51-4BD8-8228-EB4D92A48BD2}">
      <dgm:prSet/>
      <dgm:spPr/>
      <dgm:t>
        <a:bodyPr/>
        <a:lstStyle/>
        <a:p>
          <a:endParaRPr lang="en-US"/>
        </a:p>
      </dgm:t>
    </dgm:pt>
    <dgm:pt modelId="{B5933F93-F18A-4052-837F-935FD6A14BE7}">
      <dgm:prSet/>
      <dgm:spPr/>
      <dgm:t>
        <a:bodyPr/>
        <a:lstStyle/>
        <a:p>
          <a:r>
            <a:rPr lang="en-US" dirty="0">
              <a:solidFill>
                <a:schemeClr val="tx1"/>
              </a:solidFill>
            </a:rPr>
            <a:t>January 12, 2022</a:t>
          </a:r>
        </a:p>
      </dgm:t>
    </dgm:pt>
    <dgm:pt modelId="{F27971E2-0757-44FA-B1A4-6BB3C9B98812}" type="parTrans" cxnId="{FCE00CC0-A837-401A-9738-FA1C16252EDE}">
      <dgm:prSet/>
      <dgm:spPr/>
      <dgm:t>
        <a:bodyPr/>
        <a:lstStyle/>
        <a:p>
          <a:endParaRPr lang="en-US"/>
        </a:p>
      </dgm:t>
    </dgm:pt>
    <dgm:pt modelId="{31117836-63DB-4EA3-A777-C6DE999368CC}" type="sibTrans" cxnId="{FCE00CC0-A837-401A-9738-FA1C16252EDE}">
      <dgm:prSet/>
      <dgm:spPr/>
      <dgm:t>
        <a:bodyPr/>
        <a:lstStyle/>
        <a:p>
          <a:endParaRPr lang="en-US"/>
        </a:p>
      </dgm:t>
    </dgm:pt>
    <dgm:pt modelId="{0D7B9F38-C377-4018-B54E-8C304F07737B}">
      <dgm:prSet/>
      <dgm:spPr/>
      <dgm:t>
        <a:bodyPr/>
        <a:lstStyle/>
        <a:p>
          <a:r>
            <a:rPr lang="en-US" dirty="0">
              <a:solidFill>
                <a:schemeClr val="tx1"/>
              </a:solidFill>
            </a:rPr>
            <a:t>Nomination of Focal Person from Fisheries </a:t>
          </a:r>
        </a:p>
      </dgm:t>
    </dgm:pt>
    <dgm:pt modelId="{9BEE66AB-C386-4A15-B1C5-BAA9DEB0B4FF}" type="parTrans" cxnId="{FABFA4BF-549D-4457-AE0E-6176B76A88D3}">
      <dgm:prSet/>
      <dgm:spPr/>
      <dgm:t>
        <a:bodyPr/>
        <a:lstStyle/>
        <a:p>
          <a:endParaRPr lang="en-US"/>
        </a:p>
      </dgm:t>
    </dgm:pt>
    <dgm:pt modelId="{01D3B1B3-64D3-4AFC-B90F-7FD5BDFCFD05}" type="sibTrans" cxnId="{FABFA4BF-549D-4457-AE0E-6176B76A88D3}">
      <dgm:prSet/>
      <dgm:spPr/>
      <dgm:t>
        <a:bodyPr/>
        <a:lstStyle/>
        <a:p>
          <a:endParaRPr lang="en-US"/>
        </a:p>
      </dgm:t>
    </dgm:pt>
    <dgm:pt modelId="{C74B61E9-660B-4E08-86BC-9B645A33A5A8}">
      <dgm:prSet/>
      <dgm:spPr/>
      <dgm:t>
        <a:bodyPr/>
        <a:lstStyle/>
        <a:p>
          <a:r>
            <a:rPr lang="en-US" dirty="0">
              <a:solidFill>
                <a:schemeClr val="tx1"/>
              </a:solidFill>
            </a:rPr>
            <a:t>January 12, 2022</a:t>
          </a:r>
        </a:p>
      </dgm:t>
    </dgm:pt>
    <dgm:pt modelId="{EEE69691-E00B-4071-9E93-214C568BC29D}" type="parTrans" cxnId="{6E2EFD1E-69F1-4469-B266-F145A3C03947}">
      <dgm:prSet/>
      <dgm:spPr/>
      <dgm:t>
        <a:bodyPr/>
        <a:lstStyle/>
        <a:p>
          <a:endParaRPr lang="en-US"/>
        </a:p>
      </dgm:t>
    </dgm:pt>
    <dgm:pt modelId="{921E6AA4-A016-4320-80BD-9FA2748E3A23}" type="sibTrans" cxnId="{6E2EFD1E-69F1-4469-B266-F145A3C03947}">
      <dgm:prSet/>
      <dgm:spPr/>
      <dgm:t>
        <a:bodyPr/>
        <a:lstStyle/>
        <a:p>
          <a:endParaRPr lang="en-US"/>
        </a:p>
      </dgm:t>
    </dgm:pt>
    <dgm:pt modelId="{18323B1B-8D0F-4082-ADBE-DC3EBED64A7F}">
      <dgm:prSet/>
      <dgm:spPr/>
      <dgm:t>
        <a:bodyPr/>
        <a:lstStyle/>
        <a:p>
          <a:r>
            <a:rPr lang="en-US" dirty="0">
              <a:solidFill>
                <a:schemeClr val="tx1"/>
              </a:solidFill>
            </a:rPr>
            <a:t>Publish </a:t>
          </a:r>
          <a:r>
            <a:rPr lang="en-US" dirty="0" err="1">
              <a:solidFill>
                <a:schemeClr val="tx1"/>
              </a:solidFill>
            </a:rPr>
            <a:t>EoI</a:t>
          </a:r>
          <a:r>
            <a:rPr lang="en-US" dirty="0">
              <a:solidFill>
                <a:schemeClr val="tx1"/>
              </a:solidFill>
            </a:rPr>
            <a:t> for Feasibility Studies of Jetties</a:t>
          </a:r>
        </a:p>
      </dgm:t>
    </dgm:pt>
    <dgm:pt modelId="{6951EB23-5242-482A-BE29-185B23876357}" type="parTrans" cxnId="{8F12520F-2BEA-4763-BBF7-506B6D4CD7E0}">
      <dgm:prSet/>
      <dgm:spPr/>
      <dgm:t>
        <a:bodyPr/>
        <a:lstStyle/>
        <a:p>
          <a:endParaRPr lang="en-US"/>
        </a:p>
      </dgm:t>
    </dgm:pt>
    <dgm:pt modelId="{02FC1A6F-1467-4E2F-950E-6741748B389B}" type="sibTrans" cxnId="{8F12520F-2BEA-4763-BBF7-506B6D4CD7E0}">
      <dgm:prSet/>
      <dgm:spPr/>
      <dgm:t>
        <a:bodyPr/>
        <a:lstStyle/>
        <a:p>
          <a:endParaRPr lang="en-US"/>
        </a:p>
      </dgm:t>
    </dgm:pt>
    <dgm:pt modelId="{4C2D1620-B622-4E64-9961-A1CF841A0C05}">
      <dgm:prSet/>
      <dgm:spPr/>
      <dgm:t>
        <a:bodyPr/>
        <a:lstStyle/>
        <a:p>
          <a:r>
            <a:rPr lang="en-US" dirty="0">
              <a:solidFill>
                <a:schemeClr val="tx1"/>
              </a:solidFill>
            </a:rPr>
            <a:t>January 27, 2022</a:t>
          </a:r>
        </a:p>
      </dgm:t>
    </dgm:pt>
    <dgm:pt modelId="{D603E9CA-0374-4E91-8472-C844083FA550}" type="parTrans" cxnId="{46E18BB5-2F53-462F-B98B-8374F01EFD86}">
      <dgm:prSet/>
      <dgm:spPr/>
      <dgm:t>
        <a:bodyPr/>
        <a:lstStyle/>
        <a:p>
          <a:endParaRPr lang="en-US"/>
        </a:p>
      </dgm:t>
    </dgm:pt>
    <dgm:pt modelId="{7CF76721-B25F-4EB5-A7CE-E9F3416B91C7}" type="sibTrans" cxnId="{46E18BB5-2F53-462F-B98B-8374F01EFD86}">
      <dgm:prSet/>
      <dgm:spPr/>
      <dgm:t>
        <a:bodyPr/>
        <a:lstStyle/>
        <a:p>
          <a:endParaRPr lang="en-US"/>
        </a:p>
      </dgm:t>
    </dgm:pt>
    <dgm:pt modelId="{A073CC80-232E-4447-9C04-DCE11123FF0D}">
      <dgm:prSet/>
      <dgm:spPr/>
      <dgm:t>
        <a:bodyPr/>
        <a:lstStyle/>
        <a:p>
          <a:r>
            <a:rPr lang="en-US" dirty="0">
              <a:solidFill>
                <a:schemeClr val="tx1"/>
              </a:solidFill>
            </a:rPr>
            <a:t>UNOPS </a:t>
          </a:r>
          <a:r>
            <a:rPr lang="en-US">
              <a:solidFill>
                <a:schemeClr val="tx1"/>
              </a:solidFill>
            </a:rPr>
            <a:t>Meeting Consultant for Supervision (Checker and Indentor)</a:t>
          </a:r>
          <a:endParaRPr lang="en-US" dirty="0">
            <a:solidFill>
              <a:schemeClr val="tx1"/>
            </a:solidFill>
          </a:endParaRPr>
        </a:p>
      </dgm:t>
    </dgm:pt>
    <dgm:pt modelId="{63BF5AC0-B53C-4975-AD22-90B66B8F2AF0}" type="parTrans" cxnId="{DE9DA232-81A2-48D4-8326-AAC505D9771D}">
      <dgm:prSet/>
      <dgm:spPr/>
      <dgm:t>
        <a:bodyPr/>
        <a:lstStyle/>
        <a:p>
          <a:endParaRPr lang="en-US"/>
        </a:p>
      </dgm:t>
    </dgm:pt>
    <dgm:pt modelId="{966533D9-95DE-44F2-ABB4-49EB2D0B1C69}" type="sibTrans" cxnId="{DE9DA232-81A2-48D4-8326-AAC505D9771D}">
      <dgm:prSet/>
      <dgm:spPr/>
      <dgm:t>
        <a:bodyPr/>
        <a:lstStyle/>
        <a:p>
          <a:endParaRPr lang="en-US"/>
        </a:p>
      </dgm:t>
    </dgm:pt>
    <dgm:pt modelId="{8D0CFF59-30D5-479E-9333-BBABEE0FD7F3}">
      <dgm:prSet/>
      <dgm:spPr/>
      <dgm:t>
        <a:bodyPr/>
        <a:lstStyle/>
        <a:p>
          <a:r>
            <a:rPr lang="en-US" dirty="0">
              <a:solidFill>
                <a:schemeClr val="tx1"/>
              </a:solidFill>
            </a:rPr>
            <a:t>February 1, 2022</a:t>
          </a:r>
          <a:endParaRPr lang="en-US" b="0" dirty="0">
            <a:solidFill>
              <a:schemeClr val="tx1"/>
            </a:solidFill>
          </a:endParaRPr>
        </a:p>
      </dgm:t>
    </dgm:pt>
    <dgm:pt modelId="{81E131E1-73D8-4592-B8A0-8E4328369241}" type="parTrans" cxnId="{3C59067B-02C0-4271-8505-2D3A28CB8CD8}">
      <dgm:prSet/>
      <dgm:spPr/>
      <dgm:t>
        <a:bodyPr/>
        <a:lstStyle/>
        <a:p>
          <a:endParaRPr lang="en-US"/>
        </a:p>
      </dgm:t>
    </dgm:pt>
    <dgm:pt modelId="{13EF0F92-0104-4506-81B2-49365582FBE6}" type="sibTrans" cxnId="{3C59067B-02C0-4271-8505-2D3A28CB8CD8}">
      <dgm:prSet/>
      <dgm:spPr/>
      <dgm:t>
        <a:bodyPr/>
        <a:lstStyle/>
        <a:p>
          <a:endParaRPr lang="en-US"/>
        </a:p>
      </dgm:t>
    </dgm:pt>
    <dgm:pt modelId="{7428F5F3-A4E2-490A-AAD7-39F7C226A080}">
      <dgm:prSet/>
      <dgm:spPr/>
      <dgm:t>
        <a:bodyPr/>
        <a:lstStyle/>
        <a:p>
          <a:r>
            <a:rPr lang="en-US" dirty="0">
              <a:solidFill>
                <a:schemeClr val="tx1"/>
              </a:solidFill>
            </a:rPr>
            <a:t>Contract with Consultant for Procurement of Accounting Software</a:t>
          </a:r>
        </a:p>
      </dgm:t>
    </dgm:pt>
    <dgm:pt modelId="{FC723D6E-8520-4F30-83FA-43CD155513A6}" type="parTrans" cxnId="{C103C1C1-758D-4ED7-93BA-7B5B6C8B4468}">
      <dgm:prSet/>
      <dgm:spPr/>
      <dgm:t>
        <a:bodyPr/>
        <a:lstStyle/>
        <a:p>
          <a:endParaRPr lang="en-US"/>
        </a:p>
      </dgm:t>
    </dgm:pt>
    <dgm:pt modelId="{5A2BECB1-9CFC-4071-A3A5-2EDB904BDB23}" type="sibTrans" cxnId="{C103C1C1-758D-4ED7-93BA-7B5B6C8B4468}">
      <dgm:prSet/>
      <dgm:spPr/>
      <dgm:t>
        <a:bodyPr/>
        <a:lstStyle/>
        <a:p>
          <a:endParaRPr lang="en-US"/>
        </a:p>
      </dgm:t>
    </dgm:pt>
    <dgm:pt modelId="{205702C3-22C6-4FD6-AAA8-5FFEFE6A69B2}">
      <dgm:prSet/>
      <dgm:spPr/>
      <dgm:t>
        <a:bodyPr/>
        <a:lstStyle/>
        <a:p>
          <a:r>
            <a:rPr lang="en-US" dirty="0">
              <a:solidFill>
                <a:schemeClr val="tx1"/>
              </a:solidFill>
            </a:rPr>
            <a:t>January 05, 2022</a:t>
          </a:r>
        </a:p>
      </dgm:t>
    </dgm:pt>
    <dgm:pt modelId="{ABD6D00C-FFD3-479D-82D8-20C6EC34C549}" type="parTrans" cxnId="{BE565E2E-17AC-4A9C-977E-7201F0779F88}">
      <dgm:prSet/>
      <dgm:spPr/>
      <dgm:t>
        <a:bodyPr/>
        <a:lstStyle/>
        <a:p>
          <a:endParaRPr lang="en-US"/>
        </a:p>
      </dgm:t>
    </dgm:pt>
    <dgm:pt modelId="{10A474F0-5EA2-42A5-A5F6-66FDF337CE4F}" type="sibTrans" cxnId="{BE565E2E-17AC-4A9C-977E-7201F0779F88}">
      <dgm:prSet/>
      <dgm:spPr/>
      <dgm:t>
        <a:bodyPr/>
        <a:lstStyle/>
        <a:p>
          <a:endParaRPr lang="en-US"/>
        </a:p>
      </dgm:t>
    </dgm:pt>
    <dgm:pt modelId="{70299EBB-E5FA-41BF-82AB-FDBD080E2961}">
      <dgm:prSet/>
      <dgm:spPr/>
      <dgm:t>
        <a:bodyPr/>
        <a:lstStyle/>
        <a:p>
          <a:r>
            <a:rPr lang="en-US" dirty="0">
              <a:solidFill>
                <a:schemeClr val="tx1"/>
              </a:solidFill>
            </a:rPr>
            <a:t>EOI Opening for Social Mobilization Partner (SMP)</a:t>
          </a:r>
        </a:p>
      </dgm:t>
    </dgm:pt>
    <dgm:pt modelId="{6C0E8832-D3FE-42A8-A1BA-DA6E56CC5A26}" type="parTrans" cxnId="{DA6E7A6F-B050-4346-9E36-2A90B8ECFA50}">
      <dgm:prSet/>
      <dgm:spPr/>
      <dgm:t>
        <a:bodyPr/>
        <a:lstStyle/>
        <a:p>
          <a:endParaRPr lang="en-US"/>
        </a:p>
      </dgm:t>
    </dgm:pt>
    <dgm:pt modelId="{04F762A4-89F0-488A-9918-A4FBD8642C0D}" type="sibTrans" cxnId="{DA6E7A6F-B050-4346-9E36-2A90B8ECFA50}">
      <dgm:prSet/>
      <dgm:spPr/>
      <dgm:t>
        <a:bodyPr/>
        <a:lstStyle/>
        <a:p>
          <a:endParaRPr lang="en-US"/>
        </a:p>
      </dgm:t>
    </dgm:pt>
    <dgm:pt modelId="{FDA47D45-3260-4742-8D9B-32AB91A29C3B}">
      <dgm:prSet/>
      <dgm:spPr/>
      <dgm:t>
        <a:bodyPr/>
        <a:lstStyle/>
        <a:p>
          <a:r>
            <a:rPr lang="en-US" dirty="0">
              <a:solidFill>
                <a:schemeClr val="tx1"/>
              </a:solidFill>
            </a:rPr>
            <a:t>January 11, 2022</a:t>
          </a:r>
        </a:p>
      </dgm:t>
    </dgm:pt>
    <dgm:pt modelId="{00545C44-FE74-4046-8433-667B9BBD676D}" type="parTrans" cxnId="{125967F4-7C87-4444-84B9-6D554B608008}">
      <dgm:prSet/>
      <dgm:spPr/>
      <dgm:t>
        <a:bodyPr/>
        <a:lstStyle/>
        <a:p>
          <a:endParaRPr lang="en-US"/>
        </a:p>
      </dgm:t>
    </dgm:pt>
    <dgm:pt modelId="{5B1FE5B0-21F8-43F5-8750-28D3D58F2234}" type="sibTrans" cxnId="{125967F4-7C87-4444-84B9-6D554B608008}">
      <dgm:prSet/>
      <dgm:spPr/>
      <dgm:t>
        <a:bodyPr/>
        <a:lstStyle/>
        <a:p>
          <a:endParaRPr lang="en-US"/>
        </a:p>
      </dgm:t>
    </dgm:pt>
    <dgm:pt modelId="{7BAC6408-D0B9-43EB-9DC5-4CC071AFEDDF}">
      <dgm:prSet/>
      <dgm:spPr/>
      <dgm:t>
        <a:bodyPr/>
        <a:lstStyle/>
        <a:p>
          <a:r>
            <a:rPr lang="en-US" dirty="0">
              <a:solidFill>
                <a:schemeClr val="tx1"/>
              </a:solidFill>
            </a:rPr>
            <a:t>Request for Proposal (RFP) issue to NRSP 28/02/2022</a:t>
          </a:r>
        </a:p>
      </dgm:t>
    </dgm:pt>
    <dgm:pt modelId="{A2488F78-7C15-4124-BBE7-79D19D00C62B}" type="parTrans" cxnId="{04457CCD-EF9C-4301-AC7F-48A4A359D76B}">
      <dgm:prSet/>
      <dgm:spPr/>
      <dgm:t>
        <a:bodyPr/>
        <a:lstStyle/>
        <a:p>
          <a:endParaRPr lang="en-US"/>
        </a:p>
      </dgm:t>
    </dgm:pt>
    <dgm:pt modelId="{5BC35662-A2EB-443F-A63F-0DDDEF6BFB49}" type="sibTrans" cxnId="{04457CCD-EF9C-4301-AC7F-48A4A359D76B}">
      <dgm:prSet/>
      <dgm:spPr/>
      <dgm:t>
        <a:bodyPr/>
        <a:lstStyle/>
        <a:p>
          <a:endParaRPr lang="en-US"/>
        </a:p>
      </dgm:t>
    </dgm:pt>
    <dgm:pt modelId="{EBEA9F54-7364-45F9-829B-BF1EB38AEB12}" type="pres">
      <dgm:prSet presAssocID="{A86DFA04-31EF-49B6-AFAE-2287858E0303}" presName="Name0" presStyleCnt="0">
        <dgm:presLayoutVars>
          <dgm:chMax/>
          <dgm:chPref/>
          <dgm:animLvl val="lvl"/>
        </dgm:presLayoutVars>
      </dgm:prSet>
      <dgm:spPr/>
    </dgm:pt>
    <dgm:pt modelId="{6DE2F906-67A7-487B-829D-D6C3B0184944}" type="pres">
      <dgm:prSet presAssocID="{205702C3-22C6-4FD6-AAA8-5FFEFE6A69B2}" presName="composite1" presStyleCnt="0"/>
      <dgm:spPr/>
    </dgm:pt>
    <dgm:pt modelId="{86EA85E1-13A0-40A2-95A8-A379E03F42D5}" type="pres">
      <dgm:prSet presAssocID="{205702C3-22C6-4FD6-AAA8-5FFEFE6A69B2}" presName="parent1" presStyleLbl="alignNode1" presStyleIdx="0" presStyleCnt="8">
        <dgm:presLayoutVars>
          <dgm:chMax val="1"/>
          <dgm:chPref val="1"/>
          <dgm:bulletEnabled val="1"/>
        </dgm:presLayoutVars>
      </dgm:prSet>
      <dgm:spPr/>
    </dgm:pt>
    <dgm:pt modelId="{24D83C7B-47EC-4067-BAAA-44DEBEB70608}" type="pres">
      <dgm:prSet presAssocID="{205702C3-22C6-4FD6-AAA8-5FFEFE6A69B2}" presName="Childtext1" presStyleLbl="revTx" presStyleIdx="0" presStyleCnt="8">
        <dgm:presLayoutVars>
          <dgm:bulletEnabled val="1"/>
        </dgm:presLayoutVars>
      </dgm:prSet>
      <dgm:spPr/>
    </dgm:pt>
    <dgm:pt modelId="{73F70353-DE7E-49A6-93B1-E42FB14CF15A}" type="pres">
      <dgm:prSet presAssocID="{205702C3-22C6-4FD6-AAA8-5FFEFE6A69B2}" presName="ConnectLine1" presStyleLbl="sibTrans1D1" presStyleIdx="0" presStyleCnt="8"/>
      <dgm:spPr>
        <a:noFill/>
        <a:ln w="9525" cap="flat" cmpd="sng" algn="ctr">
          <a:solidFill>
            <a:schemeClr val="accent1">
              <a:hueOff val="0"/>
              <a:satOff val="0"/>
              <a:lumOff val="0"/>
              <a:alphaOff val="0"/>
            </a:schemeClr>
          </a:solidFill>
          <a:prstDash val="dash"/>
        </a:ln>
        <a:effectLst/>
      </dgm:spPr>
    </dgm:pt>
    <dgm:pt modelId="{BED2CBA9-4216-4CCB-B4ED-603925147F00}" type="pres">
      <dgm:prSet presAssocID="{205702C3-22C6-4FD6-AAA8-5FFEFE6A69B2}" presName="ConnectLineEnd1" presStyleLbl="lnNode1" presStyleIdx="0" presStyleCnt="8"/>
      <dgm:spPr/>
    </dgm:pt>
    <dgm:pt modelId="{6775C274-4CC7-4652-B21B-5A968A2BFA03}" type="pres">
      <dgm:prSet presAssocID="{205702C3-22C6-4FD6-AAA8-5FFEFE6A69B2}" presName="EmptyPane1" presStyleCnt="0"/>
      <dgm:spPr/>
    </dgm:pt>
    <dgm:pt modelId="{3A504B34-0E39-4FAA-9790-B414AEADB7BE}" type="pres">
      <dgm:prSet presAssocID="{10A474F0-5EA2-42A5-A5F6-66FDF337CE4F}" presName="spaceBetweenRectangles1" presStyleCnt="0"/>
      <dgm:spPr/>
    </dgm:pt>
    <dgm:pt modelId="{B719CD7F-9B3B-486F-BFC0-F0C94607A557}" type="pres">
      <dgm:prSet presAssocID="{FDA47D45-3260-4742-8D9B-32AB91A29C3B}" presName="composite1" presStyleCnt="0"/>
      <dgm:spPr/>
    </dgm:pt>
    <dgm:pt modelId="{4FD3D695-0401-418E-9A52-4D2040CCDFE6}" type="pres">
      <dgm:prSet presAssocID="{FDA47D45-3260-4742-8D9B-32AB91A29C3B}" presName="parent1" presStyleLbl="alignNode1" presStyleIdx="1" presStyleCnt="8">
        <dgm:presLayoutVars>
          <dgm:chMax val="1"/>
          <dgm:chPref val="1"/>
          <dgm:bulletEnabled val="1"/>
        </dgm:presLayoutVars>
      </dgm:prSet>
      <dgm:spPr/>
    </dgm:pt>
    <dgm:pt modelId="{6E971596-ACDD-4736-AE6F-F6BD7DE2C03A}" type="pres">
      <dgm:prSet presAssocID="{FDA47D45-3260-4742-8D9B-32AB91A29C3B}" presName="Childtext1" presStyleLbl="revTx" presStyleIdx="1" presStyleCnt="8">
        <dgm:presLayoutVars>
          <dgm:bulletEnabled val="1"/>
        </dgm:presLayoutVars>
      </dgm:prSet>
      <dgm:spPr/>
    </dgm:pt>
    <dgm:pt modelId="{228AFAF2-7DCB-4A2F-926B-B95BCD73BE5C}" type="pres">
      <dgm:prSet presAssocID="{FDA47D45-3260-4742-8D9B-32AB91A29C3B}" presName="ConnectLine1" presStyleLbl="sibTrans1D1" presStyleIdx="1" presStyleCnt="8"/>
      <dgm:spPr>
        <a:noFill/>
        <a:ln w="9525" cap="flat" cmpd="sng" algn="ctr">
          <a:solidFill>
            <a:schemeClr val="accent1">
              <a:hueOff val="0"/>
              <a:satOff val="0"/>
              <a:lumOff val="0"/>
              <a:alphaOff val="0"/>
            </a:schemeClr>
          </a:solidFill>
          <a:prstDash val="dash"/>
        </a:ln>
        <a:effectLst/>
      </dgm:spPr>
    </dgm:pt>
    <dgm:pt modelId="{51C6F741-F2A9-4F56-A874-684D48D0AB1B}" type="pres">
      <dgm:prSet presAssocID="{FDA47D45-3260-4742-8D9B-32AB91A29C3B}" presName="ConnectLineEnd1" presStyleLbl="lnNode1" presStyleIdx="1" presStyleCnt="8"/>
      <dgm:spPr/>
    </dgm:pt>
    <dgm:pt modelId="{5979937F-42B4-4F3E-9B65-2FE00565ACC0}" type="pres">
      <dgm:prSet presAssocID="{FDA47D45-3260-4742-8D9B-32AB91A29C3B}" presName="EmptyPane1" presStyleCnt="0"/>
      <dgm:spPr/>
    </dgm:pt>
    <dgm:pt modelId="{9F405D86-0FE0-4AA3-98AB-A17878D3FD43}" type="pres">
      <dgm:prSet presAssocID="{5B1FE5B0-21F8-43F5-8750-28D3D58F2234}" presName="spaceBetweenRectangles1" presStyleCnt="0"/>
      <dgm:spPr/>
    </dgm:pt>
    <dgm:pt modelId="{FBA3027E-65AC-4DEC-95F2-364D47EC8F6E}" type="pres">
      <dgm:prSet presAssocID="{C74B61E9-660B-4E08-86BC-9B645A33A5A8}" presName="composite1" presStyleCnt="0"/>
      <dgm:spPr/>
    </dgm:pt>
    <dgm:pt modelId="{8746E550-F4DB-411B-99FB-08B692D9C0BC}" type="pres">
      <dgm:prSet presAssocID="{C74B61E9-660B-4E08-86BC-9B645A33A5A8}" presName="parent1" presStyleLbl="alignNode1" presStyleIdx="2" presStyleCnt="8">
        <dgm:presLayoutVars>
          <dgm:chMax val="1"/>
          <dgm:chPref val="1"/>
          <dgm:bulletEnabled val="1"/>
        </dgm:presLayoutVars>
      </dgm:prSet>
      <dgm:spPr/>
    </dgm:pt>
    <dgm:pt modelId="{906D32DC-0043-491C-96E9-671B45ED55F8}" type="pres">
      <dgm:prSet presAssocID="{C74B61E9-660B-4E08-86BC-9B645A33A5A8}" presName="Childtext1" presStyleLbl="revTx" presStyleIdx="2" presStyleCnt="8">
        <dgm:presLayoutVars>
          <dgm:bulletEnabled val="1"/>
        </dgm:presLayoutVars>
      </dgm:prSet>
      <dgm:spPr/>
    </dgm:pt>
    <dgm:pt modelId="{D53019CC-0853-411B-9399-9484B6EC3B2E}" type="pres">
      <dgm:prSet presAssocID="{C74B61E9-660B-4E08-86BC-9B645A33A5A8}" presName="ConnectLine1" presStyleLbl="sibTrans1D1" presStyleIdx="2" presStyleCnt="8"/>
      <dgm:spPr>
        <a:noFill/>
        <a:ln w="9525" cap="flat" cmpd="sng" algn="ctr">
          <a:solidFill>
            <a:schemeClr val="accent1">
              <a:hueOff val="0"/>
              <a:satOff val="0"/>
              <a:lumOff val="0"/>
              <a:alphaOff val="0"/>
            </a:schemeClr>
          </a:solidFill>
          <a:prstDash val="dash"/>
        </a:ln>
        <a:effectLst/>
      </dgm:spPr>
    </dgm:pt>
    <dgm:pt modelId="{5A3BDA78-0671-4186-B0FB-AE7EFE40E2A7}" type="pres">
      <dgm:prSet presAssocID="{C74B61E9-660B-4E08-86BC-9B645A33A5A8}" presName="ConnectLineEnd1" presStyleLbl="lnNode1" presStyleIdx="2" presStyleCnt="8"/>
      <dgm:spPr/>
    </dgm:pt>
    <dgm:pt modelId="{2FB4C11A-A884-41EC-9D13-087563889173}" type="pres">
      <dgm:prSet presAssocID="{C74B61E9-660B-4E08-86BC-9B645A33A5A8}" presName="EmptyPane1" presStyleCnt="0"/>
      <dgm:spPr/>
    </dgm:pt>
    <dgm:pt modelId="{F5A807A2-7089-4691-A962-4471D3F4FD06}" type="pres">
      <dgm:prSet presAssocID="{921E6AA4-A016-4320-80BD-9FA2748E3A23}" presName="spaceBetweenRectangles1" presStyleCnt="0"/>
      <dgm:spPr/>
    </dgm:pt>
    <dgm:pt modelId="{C7DB9249-5A55-4307-8A58-2189D4445BC3}" type="pres">
      <dgm:prSet presAssocID="{B5933F93-F18A-4052-837F-935FD6A14BE7}" presName="composite1" presStyleCnt="0"/>
      <dgm:spPr/>
    </dgm:pt>
    <dgm:pt modelId="{0C359B94-720B-4D1D-B874-CA529D6215E4}" type="pres">
      <dgm:prSet presAssocID="{B5933F93-F18A-4052-837F-935FD6A14BE7}" presName="parent1" presStyleLbl="alignNode1" presStyleIdx="3" presStyleCnt="8">
        <dgm:presLayoutVars>
          <dgm:chMax val="1"/>
          <dgm:chPref val="1"/>
          <dgm:bulletEnabled val="1"/>
        </dgm:presLayoutVars>
      </dgm:prSet>
      <dgm:spPr/>
    </dgm:pt>
    <dgm:pt modelId="{B8B2343C-3443-45AE-8CCF-FE6AA421DCD3}" type="pres">
      <dgm:prSet presAssocID="{B5933F93-F18A-4052-837F-935FD6A14BE7}" presName="Childtext1" presStyleLbl="revTx" presStyleIdx="3" presStyleCnt="8">
        <dgm:presLayoutVars>
          <dgm:bulletEnabled val="1"/>
        </dgm:presLayoutVars>
      </dgm:prSet>
      <dgm:spPr/>
    </dgm:pt>
    <dgm:pt modelId="{2011C12F-E94E-4D9F-9CBC-D9B52BED7680}" type="pres">
      <dgm:prSet presAssocID="{B5933F93-F18A-4052-837F-935FD6A14BE7}" presName="ConnectLine1" presStyleLbl="sibTrans1D1" presStyleIdx="3" presStyleCnt="8"/>
      <dgm:spPr>
        <a:noFill/>
        <a:ln w="9525" cap="flat" cmpd="sng" algn="ctr">
          <a:solidFill>
            <a:schemeClr val="accent1">
              <a:hueOff val="0"/>
              <a:satOff val="0"/>
              <a:lumOff val="0"/>
              <a:alphaOff val="0"/>
            </a:schemeClr>
          </a:solidFill>
          <a:prstDash val="dash"/>
        </a:ln>
        <a:effectLst/>
      </dgm:spPr>
    </dgm:pt>
    <dgm:pt modelId="{D04B6236-9497-46DA-A6F5-1BBA3779D9B2}" type="pres">
      <dgm:prSet presAssocID="{B5933F93-F18A-4052-837F-935FD6A14BE7}" presName="ConnectLineEnd1" presStyleLbl="lnNode1" presStyleIdx="3" presStyleCnt="8"/>
      <dgm:spPr/>
    </dgm:pt>
    <dgm:pt modelId="{366A5332-E1D0-4F76-B83E-ADE1A2367E76}" type="pres">
      <dgm:prSet presAssocID="{B5933F93-F18A-4052-837F-935FD6A14BE7}" presName="EmptyPane1" presStyleCnt="0"/>
      <dgm:spPr/>
    </dgm:pt>
    <dgm:pt modelId="{1DF47E38-EAC2-467E-90FC-0164FB5E9B0C}" type="pres">
      <dgm:prSet presAssocID="{31117836-63DB-4EA3-A777-C6DE999368CC}" presName="spaceBetweenRectangles1" presStyleCnt="0"/>
      <dgm:spPr/>
    </dgm:pt>
    <dgm:pt modelId="{E62D64AE-73B4-4A04-8C36-021BB8BB1255}" type="pres">
      <dgm:prSet presAssocID="{4C2D1620-B622-4E64-9961-A1CF841A0C05}" presName="composite1" presStyleCnt="0"/>
      <dgm:spPr/>
    </dgm:pt>
    <dgm:pt modelId="{5F12C8A4-E6F3-4189-8B44-6D83E28F6830}" type="pres">
      <dgm:prSet presAssocID="{4C2D1620-B622-4E64-9961-A1CF841A0C05}" presName="parent1" presStyleLbl="alignNode1" presStyleIdx="4" presStyleCnt="8">
        <dgm:presLayoutVars>
          <dgm:chMax val="1"/>
          <dgm:chPref val="1"/>
          <dgm:bulletEnabled val="1"/>
        </dgm:presLayoutVars>
      </dgm:prSet>
      <dgm:spPr/>
    </dgm:pt>
    <dgm:pt modelId="{DED8A9D1-CCDD-4137-93F8-389E176235FA}" type="pres">
      <dgm:prSet presAssocID="{4C2D1620-B622-4E64-9961-A1CF841A0C05}" presName="Childtext1" presStyleLbl="revTx" presStyleIdx="4" presStyleCnt="8">
        <dgm:presLayoutVars>
          <dgm:bulletEnabled val="1"/>
        </dgm:presLayoutVars>
      </dgm:prSet>
      <dgm:spPr/>
    </dgm:pt>
    <dgm:pt modelId="{C1B0A536-397B-46CA-904B-A6A3CC5D4B89}" type="pres">
      <dgm:prSet presAssocID="{4C2D1620-B622-4E64-9961-A1CF841A0C05}" presName="ConnectLine1" presStyleLbl="sibTrans1D1" presStyleIdx="4" presStyleCnt="8"/>
      <dgm:spPr>
        <a:noFill/>
        <a:ln w="9525" cap="flat" cmpd="sng" algn="ctr">
          <a:solidFill>
            <a:schemeClr val="accent1">
              <a:hueOff val="0"/>
              <a:satOff val="0"/>
              <a:lumOff val="0"/>
              <a:alphaOff val="0"/>
            </a:schemeClr>
          </a:solidFill>
          <a:prstDash val="dash"/>
        </a:ln>
        <a:effectLst/>
      </dgm:spPr>
    </dgm:pt>
    <dgm:pt modelId="{F3F631ED-26C1-46C5-922F-371E444A48F9}" type="pres">
      <dgm:prSet presAssocID="{4C2D1620-B622-4E64-9961-A1CF841A0C05}" presName="ConnectLineEnd1" presStyleLbl="lnNode1" presStyleIdx="4" presStyleCnt="8"/>
      <dgm:spPr/>
    </dgm:pt>
    <dgm:pt modelId="{A0708427-036E-4D24-BBF6-8F6AECFF6A83}" type="pres">
      <dgm:prSet presAssocID="{4C2D1620-B622-4E64-9961-A1CF841A0C05}" presName="EmptyPane1" presStyleCnt="0"/>
      <dgm:spPr/>
    </dgm:pt>
    <dgm:pt modelId="{486EC62D-2C27-4F15-94D5-83AA38A33EBB}" type="pres">
      <dgm:prSet presAssocID="{7CF76721-B25F-4EB5-A7CE-E9F3416B91C7}" presName="spaceBetweenRectangles1" presStyleCnt="0"/>
      <dgm:spPr/>
    </dgm:pt>
    <dgm:pt modelId="{AD58AE04-740E-49D5-BC71-4DFEC731C46A}" type="pres">
      <dgm:prSet presAssocID="{43D4E0F1-73A1-47A5-8BD4-7220CA0DBA80}" presName="composite1" presStyleCnt="0"/>
      <dgm:spPr/>
    </dgm:pt>
    <dgm:pt modelId="{0AE93CFE-4E3D-43B8-83B2-F1A89B0CE6C9}" type="pres">
      <dgm:prSet presAssocID="{43D4E0F1-73A1-47A5-8BD4-7220CA0DBA80}" presName="parent1" presStyleLbl="alignNode1" presStyleIdx="5" presStyleCnt="8">
        <dgm:presLayoutVars>
          <dgm:chMax val="1"/>
          <dgm:chPref val="1"/>
          <dgm:bulletEnabled val="1"/>
        </dgm:presLayoutVars>
      </dgm:prSet>
      <dgm:spPr/>
    </dgm:pt>
    <dgm:pt modelId="{8FECFA93-98CD-44A2-820D-CA0382324CAE}" type="pres">
      <dgm:prSet presAssocID="{43D4E0F1-73A1-47A5-8BD4-7220CA0DBA80}" presName="Childtext1" presStyleLbl="revTx" presStyleIdx="5" presStyleCnt="8">
        <dgm:presLayoutVars>
          <dgm:bulletEnabled val="1"/>
        </dgm:presLayoutVars>
      </dgm:prSet>
      <dgm:spPr/>
    </dgm:pt>
    <dgm:pt modelId="{DE79EB21-0412-43CA-9C53-437EA99BAFF9}" type="pres">
      <dgm:prSet presAssocID="{43D4E0F1-73A1-47A5-8BD4-7220CA0DBA80}" presName="ConnectLine1" presStyleLbl="sibTrans1D1" presStyleIdx="5" presStyleCnt="8"/>
      <dgm:spPr>
        <a:noFill/>
        <a:ln w="9525" cap="flat" cmpd="sng" algn="ctr">
          <a:solidFill>
            <a:schemeClr val="accent1">
              <a:hueOff val="0"/>
              <a:satOff val="0"/>
              <a:lumOff val="0"/>
              <a:alphaOff val="0"/>
            </a:schemeClr>
          </a:solidFill>
          <a:prstDash val="dash"/>
        </a:ln>
        <a:effectLst/>
      </dgm:spPr>
    </dgm:pt>
    <dgm:pt modelId="{63907C1E-9C94-4F79-800C-14D2B9501FDF}" type="pres">
      <dgm:prSet presAssocID="{43D4E0F1-73A1-47A5-8BD4-7220CA0DBA80}" presName="ConnectLineEnd1" presStyleLbl="lnNode1" presStyleIdx="5" presStyleCnt="8"/>
      <dgm:spPr/>
    </dgm:pt>
    <dgm:pt modelId="{EB7C02B5-7104-40F0-B930-3944FC3DF5C4}" type="pres">
      <dgm:prSet presAssocID="{43D4E0F1-73A1-47A5-8BD4-7220CA0DBA80}" presName="EmptyPane1" presStyleCnt="0"/>
      <dgm:spPr/>
    </dgm:pt>
    <dgm:pt modelId="{2D4D3A1B-F615-4E7D-9F3F-97A2C87D022F}" type="pres">
      <dgm:prSet presAssocID="{C9A1A56E-C629-4419-AAA2-0AA0884ADF2A}" presName="spaceBetweenRectangles1" presStyleCnt="0"/>
      <dgm:spPr/>
    </dgm:pt>
    <dgm:pt modelId="{0B2EFB4C-4BF3-42C9-B704-B212DBFDC4D8}" type="pres">
      <dgm:prSet presAssocID="{8D0CFF59-30D5-479E-9333-BBABEE0FD7F3}" presName="composite1" presStyleCnt="0"/>
      <dgm:spPr/>
    </dgm:pt>
    <dgm:pt modelId="{74EFB8E1-FD11-4116-83E7-6385CD3BB6E2}" type="pres">
      <dgm:prSet presAssocID="{8D0CFF59-30D5-479E-9333-BBABEE0FD7F3}" presName="parent1" presStyleLbl="alignNode1" presStyleIdx="6" presStyleCnt="8">
        <dgm:presLayoutVars>
          <dgm:chMax val="1"/>
          <dgm:chPref val="1"/>
          <dgm:bulletEnabled val="1"/>
        </dgm:presLayoutVars>
      </dgm:prSet>
      <dgm:spPr/>
    </dgm:pt>
    <dgm:pt modelId="{DC213BF8-7591-4E09-BF5F-31DCB9DD3A06}" type="pres">
      <dgm:prSet presAssocID="{8D0CFF59-30D5-479E-9333-BBABEE0FD7F3}" presName="Childtext1" presStyleLbl="revTx" presStyleIdx="6" presStyleCnt="8">
        <dgm:presLayoutVars>
          <dgm:bulletEnabled val="1"/>
        </dgm:presLayoutVars>
      </dgm:prSet>
      <dgm:spPr/>
    </dgm:pt>
    <dgm:pt modelId="{8FA580D8-03A5-4EE6-8B52-44E8B51001C8}" type="pres">
      <dgm:prSet presAssocID="{8D0CFF59-30D5-479E-9333-BBABEE0FD7F3}" presName="ConnectLine1" presStyleLbl="sibTrans1D1" presStyleIdx="6" presStyleCnt="8"/>
      <dgm:spPr>
        <a:noFill/>
        <a:ln w="9525" cap="flat" cmpd="sng" algn="ctr">
          <a:solidFill>
            <a:schemeClr val="accent1">
              <a:hueOff val="0"/>
              <a:satOff val="0"/>
              <a:lumOff val="0"/>
              <a:alphaOff val="0"/>
            </a:schemeClr>
          </a:solidFill>
          <a:prstDash val="dash"/>
        </a:ln>
        <a:effectLst/>
      </dgm:spPr>
    </dgm:pt>
    <dgm:pt modelId="{D081F03D-0018-4375-A459-B5764FA40FFA}" type="pres">
      <dgm:prSet presAssocID="{8D0CFF59-30D5-479E-9333-BBABEE0FD7F3}" presName="ConnectLineEnd1" presStyleLbl="lnNode1" presStyleIdx="6" presStyleCnt="8"/>
      <dgm:spPr/>
    </dgm:pt>
    <dgm:pt modelId="{965A46C6-1A26-4A39-8598-EDDE2E86643B}" type="pres">
      <dgm:prSet presAssocID="{8D0CFF59-30D5-479E-9333-BBABEE0FD7F3}" presName="EmptyPane1" presStyleCnt="0"/>
      <dgm:spPr/>
    </dgm:pt>
    <dgm:pt modelId="{4BA69753-E12F-46D7-BDC2-9DA36E3FDB54}" type="pres">
      <dgm:prSet presAssocID="{13EF0F92-0104-4506-81B2-49365582FBE6}" presName="spaceBetweenRectangles1" presStyleCnt="0"/>
      <dgm:spPr/>
    </dgm:pt>
    <dgm:pt modelId="{1E0E434B-C551-4AF1-9CB3-080B799953FD}" type="pres">
      <dgm:prSet presAssocID="{56C0EB28-66DC-4208-A859-086AE2AF8338}" presName="composite1" presStyleCnt="0"/>
      <dgm:spPr/>
    </dgm:pt>
    <dgm:pt modelId="{FB7B0069-BD1E-4C3F-A5A5-8A803322E330}" type="pres">
      <dgm:prSet presAssocID="{56C0EB28-66DC-4208-A859-086AE2AF8338}" presName="parent1" presStyleLbl="alignNode1" presStyleIdx="7" presStyleCnt="8">
        <dgm:presLayoutVars>
          <dgm:chMax val="1"/>
          <dgm:chPref val="1"/>
          <dgm:bulletEnabled val="1"/>
        </dgm:presLayoutVars>
      </dgm:prSet>
      <dgm:spPr/>
    </dgm:pt>
    <dgm:pt modelId="{399EBD78-E611-443E-AECA-3687D3841A26}" type="pres">
      <dgm:prSet presAssocID="{56C0EB28-66DC-4208-A859-086AE2AF8338}" presName="Childtext1" presStyleLbl="revTx" presStyleIdx="7" presStyleCnt="8">
        <dgm:presLayoutVars>
          <dgm:bulletEnabled val="1"/>
        </dgm:presLayoutVars>
      </dgm:prSet>
      <dgm:spPr/>
    </dgm:pt>
    <dgm:pt modelId="{6D0D6526-38D1-4C8B-B351-28419686EAA5}" type="pres">
      <dgm:prSet presAssocID="{56C0EB28-66DC-4208-A859-086AE2AF8338}" presName="ConnectLine1" presStyleLbl="sibTrans1D1" presStyleIdx="7" presStyleCnt="8"/>
      <dgm:spPr>
        <a:noFill/>
        <a:ln w="9525" cap="flat" cmpd="sng" algn="ctr">
          <a:solidFill>
            <a:schemeClr val="accent1">
              <a:hueOff val="0"/>
              <a:satOff val="0"/>
              <a:lumOff val="0"/>
              <a:alphaOff val="0"/>
            </a:schemeClr>
          </a:solidFill>
          <a:prstDash val="dash"/>
        </a:ln>
        <a:effectLst/>
      </dgm:spPr>
    </dgm:pt>
    <dgm:pt modelId="{170C22D6-3C14-4D5C-857E-3EA28D91AECE}" type="pres">
      <dgm:prSet presAssocID="{56C0EB28-66DC-4208-A859-086AE2AF8338}" presName="ConnectLineEnd1" presStyleLbl="lnNode1" presStyleIdx="7" presStyleCnt="8"/>
      <dgm:spPr/>
    </dgm:pt>
    <dgm:pt modelId="{B9DF5469-82EE-410E-8249-546401CC656A}" type="pres">
      <dgm:prSet presAssocID="{56C0EB28-66DC-4208-A859-086AE2AF8338}" presName="EmptyPane1" presStyleCnt="0"/>
      <dgm:spPr/>
    </dgm:pt>
  </dgm:ptLst>
  <dgm:cxnLst>
    <dgm:cxn modelId="{8F12520F-2BEA-4763-BBF7-506B6D4CD7E0}" srcId="{C74B61E9-660B-4E08-86BC-9B645A33A5A8}" destId="{18323B1B-8D0F-4082-ADBE-DC3EBED64A7F}" srcOrd="0" destOrd="0" parTransId="{6951EB23-5242-482A-BE29-185B23876357}" sibTransId="{02FC1A6F-1467-4E2F-950E-6741748B389B}"/>
    <dgm:cxn modelId="{6E2EFD1E-69F1-4469-B266-F145A3C03947}" srcId="{A86DFA04-31EF-49B6-AFAE-2287858E0303}" destId="{C74B61E9-660B-4E08-86BC-9B645A33A5A8}" srcOrd="2" destOrd="0" parTransId="{EEE69691-E00B-4071-9E93-214C568BC29D}" sibTransId="{921E6AA4-A016-4320-80BD-9FA2748E3A23}"/>
    <dgm:cxn modelId="{34853C1F-D4A6-41AF-9930-EB6816762BBE}" type="presOf" srcId="{C74B61E9-660B-4E08-86BC-9B645A33A5A8}" destId="{8746E550-F4DB-411B-99FB-08B692D9C0BC}" srcOrd="0" destOrd="0" presId="urn:microsoft.com/office/officeart/2016/7/layout/RoundedRectangleTimeline"/>
    <dgm:cxn modelId="{BE565E2E-17AC-4A9C-977E-7201F0779F88}" srcId="{A86DFA04-31EF-49B6-AFAE-2287858E0303}" destId="{205702C3-22C6-4FD6-AAA8-5FFEFE6A69B2}" srcOrd="0" destOrd="0" parTransId="{ABD6D00C-FFD3-479D-82D8-20C6EC34C549}" sibTransId="{10A474F0-5EA2-42A5-A5F6-66FDF337CE4F}"/>
    <dgm:cxn modelId="{AED1CC2F-C2A3-4A40-80FC-0F8E1651414C}" type="presOf" srcId="{A86DFA04-31EF-49B6-AFAE-2287858E0303}" destId="{EBEA9F54-7364-45F9-829B-BF1EB38AEB12}" srcOrd="0" destOrd="0" presId="urn:microsoft.com/office/officeart/2016/7/layout/RoundedRectangleTimeline"/>
    <dgm:cxn modelId="{F0D0E730-679C-46FC-B3B8-297CC0BF9E6D}" type="presOf" srcId="{A073CC80-232E-4447-9C04-DCE11123FF0D}" destId="{DED8A9D1-CCDD-4137-93F8-389E176235FA}" srcOrd="0" destOrd="0" presId="urn:microsoft.com/office/officeart/2016/7/layout/RoundedRectangleTimeline"/>
    <dgm:cxn modelId="{DE9DA232-81A2-48D4-8326-AAC505D9771D}" srcId="{4C2D1620-B622-4E64-9961-A1CF841A0C05}" destId="{A073CC80-232E-4447-9C04-DCE11123FF0D}" srcOrd="0" destOrd="0" parTransId="{63BF5AC0-B53C-4975-AD22-90B66B8F2AF0}" sibTransId="{966533D9-95DE-44F2-ABB4-49EB2D0B1C69}"/>
    <dgm:cxn modelId="{898ACA32-B0A5-42EE-9609-6F9A6DCD4688}" type="presOf" srcId="{7BAC6408-D0B9-43EB-9DC5-4CC071AFEDDF}" destId="{6E971596-ACDD-4736-AE6F-F6BD7DE2C03A}" srcOrd="0" destOrd="0" presId="urn:microsoft.com/office/officeart/2016/7/layout/RoundedRectangleTimeline"/>
    <dgm:cxn modelId="{60A33735-7B48-483B-8985-8123BAFAFE0A}" type="presOf" srcId="{7428F5F3-A4E2-490A-AAD7-39F7C226A080}" destId="{DC213BF8-7591-4E09-BF5F-31DCB9DD3A06}" srcOrd="0" destOrd="0" presId="urn:microsoft.com/office/officeart/2016/7/layout/RoundedRectangleTimeline"/>
    <dgm:cxn modelId="{FC64AB60-D19C-4D9F-8A6B-168F60142400}" type="presOf" srcId="{75D10119-8178-4EA1-96D6-D343AF5AE7E3}" destId="{8FECFA93-98CD-44A2-820D-CA0382324CAE}" srcOrd="0" destOrd="0" presId="urn:microsoft.com/office/officeart/2016/7/layout/RoundedRectangleTimeline"/>
    <dgm:cxn modelId="{FDD8D741-36CC-4351-ADAD-DB6FC81E1399}" srcId="{43D4E0F1-73A1-47A5-8BD4-7220CA0DBA80}" destId="{75D10119-8178-4EA1-96D6-D343AF5AE7E3}" srcOrd="0" destOrd="0" parTransId="{ACB5D847-D905-4D3B-9B2A-426AF39FB5A2}" sibTransId="{32A40A7E-8AF8-41B4-9963-1ED9D2CE37A0}"/>
    <dgm:cxn modelId="{132F0C67-6B7A-40E4-AD71-0B0609854E83}" type="presOf" srcId="{FDA47D45-3260-4742-8D9B-32AB91A29C3B}" destId="{4FD3D695-0401-418E-9A52-4D2040CCDFE6}" srcOrd="0" destOrd="0" presId="urn:microsoft.com/office/officeart/2016/7/layout/RoundedRectangleTimeline"/>
    <dgm:cxn modelId="{DA6E7A6F-B050-4346-9E36-2A90B8ECFA50}" srcId="{205702C3-22C6-4FD6-AAA8-5FFEFE6A69B2}" destId="{70299EBB-E5FA-41BF-82AB-FDBD080E2961}" srcOrd="0" destOrd="0" parTransId="{6C0E8832-D3FE-42A8-A1BA-DA6E56CC5A26}" sibTransId="{04F762A4-89F0-488A-9918-A4FBD8642C0D}"/>
    <dgm:cxn modelId="{3C59067B-02C0-4271-8505-2D3A28CB8CD8}" srcId="{A86DFA04-31EF-49B6-AFAE-2287858E0303}" destId="{8D0CFF59-30D5-479E-9333-BBABEE0FD7F3}" srcOrd="6" destOrd="0" parTransId="{81E131E1-73D8-4592-B8A0-8E4328369241}" sibTransId="{13EF0F92-0104-4506-81B2-49365582FBE6}"/>
    <dgm:cxn modelId="{9EF9227C-6DB4-4616-955B-0EB5150B3C11}" srcId="{A86DFA04-31EF-49B6-AFAE-2287858E0303}" destId="{43D4E0F1-73A1-47A5-8BD4-7220CA0DBA80}" srcOrd="5" destOrd="0" parTransId="{3C7F0078-E8A4-4B18-8012-642978A5004B}" sibTransId="{C9A1A56E-C629-4419-AAA2-0AA0884ADF2A}"/>
    <dgm:cxn modelId="{CD8F387D-9221-4EAB-973F-6C85A4D6D821}" type="presOf" srcId="{56C0EB28-66DC-4208-A859-086AE2AF8338}" destId="{FB7B0069-BD1E-4C3F-A5A5-8A803322E330}" srcOrd="0" destOrd="0" presId="urn:microsoft.com/office/officeart/2016/7/layout/RoundedRectangleTimeline"/>
    <dgm:cxn modelId="{1372AC7E-4F3A-4524-A381-0ECB5D0ECB52}" type="presOf" srcId="{43D4E0F1-73A1-47A5-8BD4-7220CA0DBA80}" destId="{0AE93CFE-4E3D-43B8-83B2-F1A89B0CE6C9}" srcOrd="0" destOrd="0" presId="urn:microsoft.com/office/officeart/2016/7/layout/RoundedRectangleTimeline"/>
    <dgm:cxn modelId="{F885C57F-F50B-4871-8075-9AFB9DEE9F14}" type="presOf" srcId="{4C2D1620-B622-4E64-9961-A1CF841A0C05}" destId="{5F12C8A4-E6F3-4189-8B44-6D83E28F6830}" srcOrd="0" destOrd="0" presId="urn:microsoft.com/office/officeart/2016/7/layout/RoundedRectangleTimeline"/>
    <dgm:cxn modelId="{67737485-D3D3-4612-8AC8-D71B9852F4AB}" type="presOf" srcId="{205702C3-22C6-4FD6-AAA8-5FFEFE6A69B2}" destId="{86EA85E1-13A0-40A2-95A8-A379E03F42D5}" srcOrd="0" destOrd="0" presId="urn:microsoft.com/office/officeart/2016/7/layout/RoundedRectangleTimeline"/>
    <dgm:cxn modelId="{C93F7597-BD51-4BD8-8228-EB4D92A48BD2}" srcId="{56C0EB28-66DC-4208-A859-086AE2AF8338}" destId="{ED95D9ED-DEAE-469C-94A8-5BE31841D8BC}" srcOrd="0" destOrd="0" parTransId="{B044656B-E961-4C93-8699-93C191AA1D45}" sibTransId="{78F932A4-813E-4FCD-BB97-E5D8B3D1C6D4}"/>
    <dgm:cxn modelId="{CE6EA798-DCA3-4A1A-B7FB-7F1E18C05BBF}" type="presOf" srcId="{8D0CFF59-30D5-479E-9333-BBABEE0FD7F3}" destId="{74EFB8E1-FD11-4116-83E7-6385CD3BB6E2}" srcOrd="0" destOrd="0" presId="urn:microsoft.com/office/officeart/2016/7/layout/RoundedRectangleTimeline"/>
    <dgm:cxn modelId="{495EDDA0-6B3B-4242-8281-8ABD0ECFB85C}" type="presOf" srcId="{18323B1B-8D0F-4082-ADBE-DC3EBED64A7F}" destId="{906D32DC-0043-491C-96E9-671B45ED55F8}" srcOrd="0" destOrd="0" presId="urn:microsoft.com/office/officeart/2016/7/layout/RoundedRectangleTimeline"/>
    <dgm:cxn modelId="{46E18BB5-2F53-462F-B98B-8374F01EFD86}" srcId="{A86DFA04-31EF-49B6-AFAE-2287858E0303}" destId="{4C2D1620-B622-4E64-9961-A1CF841A0C05}" srcOrd="4" destOrd="0" parTransId="{D603E9CA-0374-4E91-8472-C844083FA550}" sibTransId="{7CF76721-B25F-4EB5-A7CE-E9F3416B91C7}"/>
    <dgm:cxn modelId="{D197D4B7-A741-42C8-BB96-B398991FB422}" type="presOf" srcId="{B5933F93-F18A-4052-837F-935FD6A14BE7}" destId="{0C359B94-720B-4D1D-B874-CA529D6215E4}" srcOrd="0" destOrd="0" presId="urn:microsoft.com/office/officeart/2016/7/layout/RoundedRectangleTimeline"/>
    <dgm:cxn modelId="{4FE8B9BE-279E-40EF-80FE-73EB8B1E54AD}" srcId="{A86DFA04-31EF-49B6-AFAE-2287858E0303}" destId="{56C0EB28-66DC-4208-A859-086AE2AF8338}" srcOrd="7" destOrd="0" parTransId="{19C974B5-2C4E-4F65-8450-95324E987F8C}" sibTransId="{E22E526B-FC2C-403B-8FD0-FF82150224E8}"/>
    <dgm:cxn modelId="{FABFA4BF-549D-4457-AE0E-6176B76A88D3}" srcId="{B5933F93-F18A-4052-837F-935FD6A14BE7}" destId="{0D7B9F38-C377-4018-B54E-8C304F07737B}" srcOrd="0" destOrd="0" parTransId="{9BEE66AB-C386-4A15-B1C5-BAA9DEB0B4FF}" sibTransId="{01D3B1B3-64D3-4AFC-B90F-7FD5BDFCFD05}"/>
    <dgm:cxn modelId="{FCE00CC0-A837-401A-9738-FA1C16252EDE}" srcId="{A86DFA04-31EF-49B6-AFAE-2287858E0303}" destId="{B5933F93-F18A-4052-837F-935FD6A14BE7}" srcOrd="3" destOrd="0" parTransId="{F27971E2-0757-44FA-B1A4-6BB3C9B98812}" sibTransId="{31117836-63DB-4EA3-A777-C6DE999368CC}"/>
    <dgm:cxn modelId="{C103C1C1-758D-4ED7-93BA-7B5B6C8B4468}" srcId="{8D0CFF59-30D5-479E-9333-BBABEE0FD7F3}" destId="{7428F5F3-A4E2-490A-AAD7-39F7C226A080}" srcOrd="0" destOrd="0" parTransId="{FC723D6E-8520-4F30-83FA-43CD155513A6}" sibTransId="{5A2BECB1-9CFC-4071-A3A5-2EDB904BDB23}"/>
    <dgm:cxn modelId="{04457CCD-EF9C-4301-AC7F-48A4A359D76B}" srcId="{FDA47D45-3260-4742-8D9B-32AB91A29C3B}" destId="{7BAC6408-D0B9-43EB-9DC5-4CC071AFEDDF}" srcOrd="0" destOrd="0" parTransId="{A2488F78-7C15-4124-BBE7-79D19D00C62B}" sibTransId="{5BC35662-A2EB-443F-A63F-0DDDEF6BFB49}"/>
    <dgm:cxn modelId="{76DE95CF-05C2-4F9C-A216-AE8C3C0B9FA6}" type="presOf" srcId="{70299EBB-E5FA-41BF-82AB-FDBD080E2961}" destId="{24D83C7B-47EC-4067-BAAA-44DEBEB70608}" srcOrd="0" destOrd="0" presId="urn:microsoft.com/office/officeart/2016/7/layout/RoundedRectangleTimeline"/>
    <dgm:cxn modelId="{DA8183DC-B978-4164-9D1C-F850B8A1A7BB}" type="presOf" srcId="{0D7B9F38-C377-4018-B54E-8C304F07737B}" destId="{B8B2343C-3443-45AE-8CCF-FE6AA421DCD3}" srcOrd="0" destOrd="0" presId="urn:microsoft.com/office/officeart/2016/7/layout/RoundedRectangleTimeline"/>
    <dgm:cxn modelId="{4B0A21DD-47DB-478D-B2E4-DF55B81BC5F7}" type="presOf" srcId="{ED95D9ED-DEAE-469C-94A8-5BE31841D8BC}" destId="{399EBD78-E611-443E-AECA-3687D3841A26}" srcOrd="0" destOrd="0" presId="urn:microsoft.com/office/officeart/2016/7/layout/RoundedRectangleTimeline"/>
    <dgm:cxn modelId="{125967F4-7C87-4444-84B9-6D554B608008}" srcId="{A86DFA04-31EF-49B6-AFAE-2287858E0303}" destId="{FDA47D45-3260-4742-8D9B-32AB91A29C3B}" srcOrd="1" destOrd="0" parTransId="{00545C44-FE74-4046-8433-667B9BBD676D}" sibTransId="{5B1FE5B0-21F8-43F5-8750-28D3D58F2234}"/>
    <dgm:cxn modelId="{45086642-40F1-425D-BBFF-7B5C168CE62A}" type="presParOf" srcId="{EBEA9F54-7364-45F9-829B-BF1EB38AEB12}" destId="{6DE2F906-67A7-487B-829D-D6C3B0184944}" srcOrd="0" destOrd="0" presId="urn:microsoft.com/office/officeart/2016/7/layout/RoundedRectangleTimeline"/>
    <dgm:cxn modelId="{D58080B5-2A87-46F2-93D3-117491CAAD00}" type="presParOf" srcId="{6DE2F906-67A7-487B-829D-D6C3B0184944}" destId="{86EA85E1-13A0-40A2-95A8-A379E03F42D5}" srcOrd="0" destOrd="0" presId="urn:microsoft.com/office/officeart/2016/7/layout/RoundedRectangleTimeline"/>
    <dgm:cxn modelId="{DA6BDAEF-0F2F-44F9-A141-49A042089BAA}" type="presParOf" srcId="{6DE2F906-67A7-487B-829D-D6C3B0184944}" destId="{24D83C7B-47EC-4067-BAAA-44DEBEB70608}" srcOrd="1" destOrd="0" presId="urn:microsoft.com/office/officeart/2016/7/layout/RoundedRectangleTimeline"/>
    <dgm:cxn modelId="{DA9ADA39-3CF4-49B7-AA80-67C516ABC72A}" type="presParOf" srcId="{6DE2F906-67A7-487B-829D-D6C3B0184944}" destId="{73F70353-DE7E-49A6-93B1-E42FB14CF15A}" srcOrd="2" destOrd="0" presId="urn:microsoft.com/office/officeart/2016/7/layout/RoundedRectangleTimeline"/>
    <dgm:cxn modelId="{499A8FBB-2EB9-4C1E-9003-DCFCBF1F4AC3}" type="presParOf" srcId="{6DE2F906-67A7-487B-829D-D6C3B0184944}" destId="{BED2CBA9-4216-4CCB-B4ED-603925147F00}" srcOrd="3" destOrd="0" presId="urn:microsoft.com/office/officeart/2016/7/layout/RoundedRectangleTimeline"/>
    <dgm:cxn modelId="{ED835D65-3924-481B-9F13-B7BC796FACA8}" type="presParOf" srcId="{6DE2F906-67A7-487B-829D-D6C3B0184944}" destId="{6775C274-4CC7-4652-B21B-5A968A2BFA03}" srcOrd="4" destOrd="0" presId="urn:microsoft.com/office/officeart/2016/7/layout/RoundedRectangleTimeline"/>
    <dgm:cxn modelId="{AA139AE1-B690-416C-B351-F79C7FB9BEC9}" type="presParOf" srcId="{EBEA9F54-7364-45F9-829B-BF1EB38AEB12}" destId="{3A504B34-0E39-4FAA-9790-B414AEADB7BE}" srcOrd="1" destOrd="0" presId="urn:microsoft.com/office/officeart/2016/7/layout/RoundedRectangleTimeline"/>
    <dgm:cxn modelId="{35C66BDB-9436-4047-BB0C-A089DAF790CF}" type="presParOf" srcId="{EBEA9F54-7364-45F9-829B-BF1EB38AEB12}" destId="{B719CD7F-9B3B-486F-BFC0-F0C94607A557}" srcOrd="2" destOrd="0" presId="urn:microsoft.com/office/officeart/2016/7/layout/RoundedRectangleTimeline"/>
    <dgm:cxn modelId="{4CEEF8EB-AC57-4A74-AC70-D3C8A0318333}" type="presParOf" srcId="{B719CD7F-9B3B-486F-BFC0-F0C94607A557}" destId="{4FD3D695-0401-418E-9A52-4D2040CCDFE6}" srcOrd="0" destOrd="0" presId="urn:microsoft.com/office/officeart/2016/7/layout/RoundedRectangleTimeline"/>
    <dgm:cxn modelId="{ED2A5841-6658-4429-BDA2-C48C33942D67}" type="presParOf" srcId="{B719CD7F-9B3B-486F-BFC0-F0C94607A557}" destId="{6E971596-ACDD-4736-AE6F-F6BD7DE2C03A}" srcOrd="1" destOrd="0" presId="urn:microsoft.com/office/officeart/2016/7/layout/RoundedRectangleTimeline"/>
    <dgm:cxn modelId="{B796DC03-2E52-4AF9-BDBF-AE428A7582DC}" type="presParOf" srcId="{B719CD7F-9B3B-486F-BFC0-F0C94607A557}" destId="{228AFAF2-7DCB-4A2F-926B-B95BCD73BE5C}" srcOrd="2" destOrd="0" presId="urn:microsoft.com/office/officeart/2016/7/layout/RoundedRectangleTimeline"/>
    <dgm:cxn modelId="{E423D58B-772C-44CF-AA4A-55312AD9D513}" type="presParOf" srcId="{B719CD7F-9B3B-486F-BFC0-F0C94607A557}" destId="{51C6F741-F2A9-4F56-A874-684D48D0AB1B}" srcOrd="3" destOrd="0" presId="urn:microsoft.com/office/officeart/2016/7/layout/RoundedRectangleTimeline"/>
    <dgm:cxn modelId="{2349E6E6-5329-4AA2-B32E-A56AB654889A}" type="presParOf" srcId="{B719CD7F-9B3B-486F-BFC0-F0C94607A557}" destId="{5979937F-42B4-4F3E-9B65-2FE00565ACC0}" srcOrd="4" destOrd="0" presId="urn:microsoft.com/office/officeart/2016/7/layout/RoundedRectangleTimeline"/>
    <dgm:cxn modelId="{E1EA0E06-0624-4B67-A1E8-B286AD982CA8}" type="presParOf" srcId="{EBEA9F54-7364-45F9-829B-BF1EB38AEB12}" destId="{9F405D86-0FE0-4AA3-98AB-A17878D3FD43}" srcOrd="3" destOrd="0" presId="urn:microsoft.com/office/officeart/2016/7/layout/RoundedRectangleTimeline"/>
    <dgm:cxn modelId="{2DBCB10A-77DD-4257-B9D3-21A0AC6CA35E}" type="presParOf" srcId="{EBEA9F54-7364-45F9-829B-BF1EB38AEB12}" destId="{FBA3027E-65AC-4DEC-95F2-364D47EC8F6E}" srcOrd="4" destOrd="0" presId="urn:microsoft.com/office/officeart/2016/7/layout/RoundedRectangleTimeline"/>
    <dgm:cxn modelId="{4F089A44-DF0E-4823-8DB9-DCA87C3EA12F}" type="presParOf" srcId="{FBA3027E-65AC-4DEC-95F2-364D47EC8F6E}" destId="{8746E550-F4DB-411B-99FB-08B692D9C0BC}" srcOrd="0" destOrd="0" presId="urn:microsoft.com/office/officeart/2016/7/layout/RoundedRectangleTimeline"/>
    <dgm:cxn modelId="{9476999C-6139-4FA4-BE48-8A1350689D50}" type="presParOf" srcId="{FBA3027E-65AC-4DEC-95F2-364D47EC8F6E}" destId="{906D32DC-0043-491C-96E9-671B45ED55F8}" srcOrd="1" destOrd="0" presId="urn:microsoft.com/office/officeart/2016/7/layout/RoundedRectangleTimeline"/>
    <dgm:cxn modelId="{FF3E760A-77DD-4B25-9173-1DA17CBD60E0}" type="presParOf" srcId="{FBA3027E-65AC-4DEC-95F2-364D47EC8F6E}" destId="{D53019CC-0853-411B-9399-9484B6EC3B2E}" srcOrd="2" destOrd="0" presId="urn:microsoft.com/office/officeart/2016/7/layout/RoundedRectangleTimeline"/>
    <dgm:cxn modelId="{6202D338-CF80-47A3-AF20-CD3CFA76FCC3}" type="presParOf" srcId="{FBA3027E-65AC-4DEC-95F2-364D47EC8F6E}" destId="{5A3BDA78-0671-4186-B0FB-AE7EFE40E2A7}" srcOrd="3" destOrd="0" presId="urn:microsoft.com/office/officeart/2016/7/layout/RoundedRectangleTimeline"/>
    <dgm:cxn modelId="{1A499872-BDC0-4E3B-9AE6-848B56DC0DA2}" type="presParOf" srcId="{FBA3027E-65AC-4DEC-95F2-364D47EC8F6E}" destId="{2FB4C11A-A884-41EC-9D13-087563889173}" srcOrd="4" destOrd="0" presId="urn:microsoft.com/office/officeart/2016/7/layout/RoundedRectangleTimeline"/>
    <dgm:cxn modelId="{DAB3C11D-042C-4589-B6BE-FA0493B4C415}" type="presParOf" srcId="{EBEA9F54-7364-45F9-829B-BF1EB38AEB12}" destId="{F5A807A2-7089-4691-A962-4471D3F4FD06}" srcOrd="5" destOrd="0" presId="urn:microsoft.com/office/officeart/2016/7/layout/RoundedRectangleTimeline"/>
    <dgm:cxn modelId="{2E1EAD08-D88B-4576-AFD8-FBEB1EA35D8F}" type="presParOf" srcId="{EBEA9F54-7364-45F9-829B-BF1EB38AEB12}" destId="{C7DB9249-5A55-4307-8A58-2189D4445BC3}" srcOrd="6" destOrd="0" presId="urn:microsoft.com/office/officeart/2016/7/layout/RoundedRectangleTimeline"/>
    <dgm:cxn modelId="{ABF7189F-9C73-4BDE-A8CC-6076CB0DCD05}" type="presParOf" srcId="{C7DB9249-5A55-4307-8A58-2189D4445BC3}" destId="{0C359B94-720B-4D1D-B874-CA529D6215E4}" srcOrd="0" destOrd="0" presId="urn:microsoft.com/office/officeart/2016/7/layout/RoundedRectangleTimeline"/>
    <dgm:cxn modelId="{F7BC17DD-7022-449A-95EE-C6062FB15000}" type="presParOf" srcId="{C7DB9249-5A55-4307-8A58-2189D4445BC3}" destId="{B8B2343C-3443-45AE-8CCF-FE6AA421DCD3}" srcOrd="1" destOrd="0" presId="urn:microsoft.com/office/officeart/2016/7/layout/RoundedRectangleTimeline"/>
    <dgm:cxn modelId="{4D4FB92C-878C-42AA-98B1-A94BF0EA7425}" type="presParOf" srcId="{C7DB9249-5A55-4307-8A58-2189D4445BC3}" destId="{2011C12F-E94E-4D9F-9CBC-D9B52BED7680}" srcOrd="2" destOrd="0" presId="urn:microsoft.com/office/officeart/2016/7/layout/RoundedRectangleTimeline"/>
    <dgm:cxn modelId="{654ACC2F-5675-4318-AD4B-0673E593B7FB}" type="presParOf" srcId="{C7DB9249-5A55-4307-8A58-2189D4445BC3}" destId="{D04B6236-9497-46DA-A6F5-1BBA3779D9B2}" srcOrd="3" destOrd="0" presId="urn:microsoft.com/office/officeart/2016/7/layout/RoundedRectangleTimeline"/>
    <dgm:cxn modelId="{4FDE8AC4-27EF-43E7-AACD-3DA98C57A9B9}" type="presParOf" srcId="{C7DB9249-5A55-4307-8A58-2189D4445BC3}" destId="{366A5332-E1D0-4F76-B83E-ADE1A2367E76}" srcOrd="4" destOrd="0" presId="urn:microsoft.com/office/officeart/2016/7/layout/RoundedRectangleTimeline"/>
    <dgm:cxn modelId="{C20B0169-D419-4A02-861B-BCB9BE4E9AE0}" type="presParOf" srcId="{EBEA9F54-7364-45F9-829B-BF1EB38AEB12}" destId="{1DF47E38-EAC2-467E-90FC-0164FB5E9B0C}" srcOrd="7" destOrd="0" presId="urn:microsoft.com/office/officeart/2016/7/layout/RoundedRectangleTimeline"/>
    <dgm:cxn modelId="{837E827E-8ACD-4C23-89F4-26090066C318}" type="presParOf" srcId="{EBEA9F54-7364-45F9-829B-BF1EB38AEB12}" destId="{E62D64AE-73B4-4A04-8C36-021BB8BB1255}" srcOrd="8" destOrd="0" presId="urn:microsoft.com/office/officeart/2016/7/layout/RoundedRectangleTimeline"/>
    <dgm:cxn modelId="{11506EEE-3F86-4252-874F-2879F281BD19}" type="presParOf" srcId="{E62D64AE-73B4-4A04-8C36-021BB8BB1255}" destId="{5F12C8A4-E6F3-4189-8B44-6D83E28F6830}" srcOrd="0" destOrd="0" presId="urn:microsoft.com/office/officeart/2016/7/layout/RoundedRectangleTimeline"/>
    <dgm:cxn modelId="{6691E1FD-F702-42BE-B220-632CAB53AA07}" type="presParOf" srcId="{E62D64AE-73B4-4A04-8C36-021BB8BB1255}" destId="{DED8A9D1-CCDD-4137-93F8-389E176235FA}" srcOrd="1" destOrd="0" presId="urn:microsoft.com/office/officeart/2016/7/layout/RoundedRectangleTimeline"/>
    <dgm:cxn modelId="{6175EF5A-21C1-4E46-8312-DBC4E28405C3}" type="presParOf" srcId="{E62D64AE-73B4-4A04-8C36-021BB8BB1255}" destId="{C1B0A536-397B-46CA-904B-A6A3CC5D4B89}" srcOrd="2" destOrd="0" presId="urn:microsoft.com/office/officeart/2016/7/layout/RoundedRectangleTimeline"/>
    <dgm:cxn modelId="{29469478-4C02-4AC6-BE5A-31886183601C}" type="presParOf" srcId="{E62D64AE-73B4-4A04-8C36-021BB8BB1255}" destId="{F3F631ED-26C1-46C5-922F-371E444A48F9}" srcOrd="3" destOrd="0" presId="urn:microsoft.com/office/officeart/2016/7/layout/RoundedRectangleTimeline"/>
    <dgm:cxn modelId="{0B8F4665-65ED-460F-8E9E-6D71CD7CD74D}" type="presParOf" srcId="{E62D64AE-73B4-4A04-8C36-021BB8BB1255}" destId="{A0708427-036E-4D24-BBF6-8F6AECFF6A83}" srcOrd="4" destOrd="0" presId="urn:microsoft.com/office/officeart/2016/7/layout/RoundedRectangleTimeline"/>
    <dgm:cxn modelId="{B0265C89-F9E8-4E82-BDFC-1A820A9E21A3}" type="presParOf" srcId="{EBEA9F54-7364-45F9-829B-BF1EB38AEB12}" destId="{486EC62D-2C27-4F15-94D5-83AA38A33EBB}" srcOrd="9" destOrd="0" presId="urn:microsoft.com/office/officeart/2016/7/layout/RoundedRectangleTimeline"/>
    <dgm:cxn modelId="{8449A91A-4FF0-470D-A27B-102BB4E96E07}" type="presParOf" srcId="{EBEA9F54-7364-45F9-829B-BF1EB38AEB12}" destId="{AD58AE04-740E-49D5-BC71-4DFEC731C46A}" srcOrd="10" destOrd="0" presId="urn:microsoft.com/office/officeart/2016/7/layout/RoundedRectangleTimeline"/>
    <dgm:cxn modelId="{FCDD58F1-E315-4C2B-9D63-9D8292B64443}" type="presParOf" srcId="{AD58AE04-740E-49D5-BC71-4DFEC731C46A}" destId="{0AE93CFE-4E3D-43B8-83B2-F1A89B0CE6C9}" srcOrd="0" destOrd="0" presId="urn:microsoft.com/office/officeart/2016/7/layout/RoundedRectangleTimeline"/>
    <dgm:cxn modelId="{02CCA293-646B-4638-8B4D-A73AE58DEF16}" type="presParOf" srcId="{AD58AE04-740E-49D5-BC71-4DFEC731C46A}" destId="{8FECFA93-98CD-44A2-820D-CA0382324CAE}" srcOrd="1" destOrd="0" presId="urn:microsoft.com/office/officeart/2016/7/layout/RoundedRectangleTimeline"/>
    <dgm:cxn modelId="{2AE0F8E8-0DBB-4F55-AFDC-EC0B66D7CAB2}" type="presParOf" srcId="{AD58AE04-740E-49D5-BC71-4DFEC731C46A}" destId="{DE79EB21-0412-43CA-9C53-437EA99BAFF9}" srcOrd="2" destOrd="0" presId="urn:microsoft.com/office/officeart/2016/7/layout/RoundedRectangleTimeline"/>
    <dgm:cxn modelId="{28CB875E-5FE0-4B5C-B16D-AF72164E4672}" type="presParOf" srcId="{AD58AE04-740E-49D5-BC71-4DFEC731C46A}" destId="{63907C1E-9C94-4F79-800C-14D2B9501FDF}" srcOrd="3" destOrd="0" presId="urn:microsoft.com/office/officeart/2016/7/layout/RoundedRectangleTimeline"/>
    <dgm:cxn modelId="{8CC26639-27DA-4D0D-8DB7-4189EBD2C111}" type="presParOf" srcId="{AD58AE04-740E-49D5-BC71-4DFEC731C46A}" destId="{EB7C02B5-7104-40F0-B930-3944FC3DF5C4}" srcOrd="4" destOrd="0" presId="urn:microsoft.com/office/officeart/2016/7/layout/RoundedRectangleTimeline"/>
    <dgm:cxn modelId="{C03FF056-EB0D-44A7-9FC7-2FFC734F3471}" type="presParOf" srcId="{EBEA9F54-7364-45F9-829B-BF1EB38AEB12}" destId="{2D4D3A1B-F615-4E7D-9F3F-97A2C87D022F}" srcOrd="11" destOrd="0" presId="urn:microsoft.com/office/officeart/2016/7/layout/RoundedRectangleTimeline"/>
    <dgm:cxn modelId="{EA483CFD-6BBF-4B99-B8FB-A7A8CE524B5B}" type="presParOf" srcId="{EBEA9F54-7364-45F9-829B-BF1EB38AEB12}" destId="{0B2EFB4C-4BF3-42C9-B704-B212DBFDC4D8}" srcOrd="12" destOrd="0" presId="urn:microsoft.com/office/officeart/2016/7/layout/RoundedRectangleTimeline"/>
    <dgm:cxn modelId="{9B33FC5F-B795-4603-A1FB-C16D654A846A}" type="presParOf" srcId="{0B2EFB4C-4BF3-42C9-B704-B212DBFDC4D8}" destId="{74EFB8E1-FD11-4116-83E7-6385CD3BB6E2}" srcOrd="0" destOrd="0" presId="urn:microsoft.com/office/officeart/2016/7/layout/RoundedRectangleTimeline"/>
    <dgm:cxn modelId="{DE6A4976-9657-487D-A281-316FA96A21EC}" type="presParOf" srcId="{0B2EFB4C-4BF3-42C9-B704-B212DBFDC4D8}" destId="{DC213BF8-7591-4E09-BF5F-31DCB9DD3A06}" srcOrd="1" destOrd="0" presId="urn:microsoft.com/office/officeart/2016/7/layout/RoundedRectangleTimeline"/>
    <dgm:cxn modelId="{5AD9E351-A489-4075-81C8-47D6FFEEEC8D}" type="presParOf" srcId="{0B2EFB4C-4BF3-42C9-B704-B212DBFDC4D8}" destId="{8FA580D8-03A5-4EE6-8B52-44E8B51001C8}" srcOrd="2" destOrd="0" presId="urn:microsoft.com/office/officeart/2016/7/layout/RoundedRectangleTimeline"/>
    <dgm:cxn modelId="{6073819F-B24D-4088-8ECC-5F8ACB1E642C}" type="presParOf" srcId="{0B2EFB4C-4BF3-42C9-B704-B212DBFDC4D8}" destId="{D081F03D-0018-4375-A459-B5764FA40FFA}" srcOrd="3" destOrd="0" presId="urn:microsoft.com/office/officeart/2016/7/layout/RoundedRectangleTimeline"/>
    <dgm:cxn modelId="{5B9ADC79-9EA7-4E04-BC9B-1736ABC5ED44}" type="presParOf" srcId="{0B2EFB4C-4BF3-42C9-B704-B212DBFDC4D8}" destId="{965A46C6-1A26-4A39-8598-EDDE2E86643B}" srcOrd="4" destOrd="0" presId="urn:microsoft.com/office/officeart/2016/7/layout/RoundedRectangleTimeline"/>
    <dgm:cxn modelId="{5C1C46AA-C909-44E0-B5F7-FDD5B1D80A66}" type="presParOf" srcId="{EBEA9F54-7364-45F9-829B-BF1EB38AEB12}" destId="{4BA69753-E12F-46D7-BDC2-9DA36E3FDB54}" srcOrd="13" destOrd="0" presId="urn:microsoft.com/office/officeart/2016/7/layout/RoundedRectangleTimeline"/>
    <dgm:cxn modelId="{17815E62-78AD-4CD3-A136-58D433143B6D}" type="presParOf" srcId="{EBEA9F54-7364-45F9-829B-BF1EB38AEB12}" destId="{1E0E434B-C551-4AF1-9CB3-080B799953FD}" srcOrd="14" destOrd="0" presId="urn:microsoft.com/office/officeart/2016/7/layout/RoundedRectangleTimeline"/>
    <dgm:cxn modelId="{7F1D8C72-8A98-484C-9BBE-076374528F46}" type="presParOf" srcId="{1E0E434B-C551-4AF1-9CB3-080B799953FD}" destId="{FB7B0069-BD1E-4C3F-A5A5-8A803322E330}" srcOrd="0" destOrd="0" presId="urn:microsoft.com/office/officeart/2016/7/layout/RoundedRectangleTimeline"/>
    <dgm:cxn modelId="{90ABF3E0-DB06-44DB-B8A2-CBA744B3F179}" type="presParOf" srcId="{1E0E434B-C551-4AF1-9CB3-080B799953FD}" destId="{399EBD78-E611-443E-AECA-3687D3841A26}" srcOrd="1" destOrd="0" presId="urn:microsoft.com/office/officeart/2016/7/layout/RoundedRectangleTimeline"/>
    <dgm:cxn modelId="{EA963D13-9495-4AE5-AE6D-F5DFFE2BBF0A}" type="presParOf" srcId="{1E0E434B-C551-4AF1-9CB3-080B799953FD}" destId="{6D0D6526-38D1-4C8B-B351-28419686EAA5}" srcOrd="2" destOrd="0" presId="urn:microsoft.com/office/officeart/2016/7/layout/RoundedRectangleTimeline"/>
    <dgm:cxn modelId="{59FD2F6B-3503-41B5-B324-2847D5C9E026}" type="presParOf" srcId="{1E0E434B-C551-4AF1-9CB3-080B799953FD}" destId="{170C22D6-3C14-4D5C-857E-3EA28D91AECE}" srcOrd="3" destOrd="0" presId="urn:microsoft.com/office/officeart/2016/7/layout/RoundedRectangleTimeline"/>
    <dgm:cxn modelId="{CC4527A9-49C8-40A5-A55C-6009A3120ABF}" type="presParOf" srcId="{1E0E434B-C551-4AF1-9CB3-080B799953FD}" destId="{B9DF5469-82EE-410E-8249-546401CC656A}"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A9158A-BBFA-4DED-813A-1F0F318FE29F}">
      <dsp:nvSpPr>
        <dsp:cNvPr id="0" name=""/>
        <dsp:cNvSpPr/>
      </dsp:nvSpPr>
      <dsp:spPr>
        <a:xfrm rot="16200000">
          <a:off x="1140803" y="2253119"/>
          <a:ext cx="625021" cy="1743977"/>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SMP (NRSP)</a:t>
          </a:r>
        </a:p>
      </dsp:txBody>
      <dsp:txXfrm rot="5400000">
        <a:off x="611837" y="2843108"/>
        <a:ext cx="1713466" cy="563999"/>
      </dsp:txXfrm>
    </dsp:sp>
    <dsp:sp modelId="{8105213B-9B2C-4D83-9F1B-EF70780348BA}">
      <dsp:nvSpPr>
        <dsp:cNvPr id="0" name=""/>
        <dsp:cNvSpPr/>
      </dsp:nvSpPr>
      <dsp:spPr>
        <a:xfrm>
          <a:off x="136960" y="0"/>
          <a:ext cx="2906629"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l" defTabSz="577850">
            <a:lnSpc>
              <a:spcPct val="90000"/>
            </a:lnSpc>
            <a:spcBef>
              <a:spcPct val="0"/>
            </a:spcBef>
            <a:spcAft>
              <a:spcPct val="35000"/>
            </a:spcAft>
            <a:buFont typeface="Wingdings" panose="05000000000000000000" pitchFamily="2" charset="2"/>
            <a:buNone/>
          </a:pPr>
          <a:r>
            <a:rPr lang="en-US" sz="1300" kern="1200" dirty="0"/>
            <a:t>Capacity Building for Participatory Development, Youth Employment</a:t>
          </a:r>
        </a:p>
        <a:p>
          <a:pPr marL="0" lvl="0" indent="0" algn="l" defTabSz="577850">
            <a:lnSpc>
              <a:spcPct val="90000"/>
            </a:lnSpc>
            <a:spcBef>
              <a:spcPct val="0"/>
            </a:spcBef>
            <a:spcAft>
              <a:spcPct val="35000"/>
            </a:spcAft>
            <a:buFont typeface="Wingdings" panose="05000000000000000000" pitchFamily="2" charset="2"/>
            <a:buNone/>
          </a:pPr>
          <a:r>
            <a:rPr lang="en-US" sz="1300" kern="1200" dirty="0"/>
            <a:t>Asset Transfer &amp; Women Empowerment</a:t>
          </a:r>
        </a:p>
        <a:p>
          <a:pPr marL="0" lvl="0" indent="0" algn="l" defTabSz="577850">
            <a:lnSpc>
              <a:spcPct val="90000"/>
            </a:lnSpc>
            <a:spcBef>
              <a:spcPct val="0"/>
            </a:spcBef>
            <a:spcAft>
              <a:spcPct val="35000"/>
            </a:spcAft>
            <a:buFont typeface="Wingdings" panose="05000000000000000000" pitchFamily="2" charset="2"/>
            <a:buNone/>
          </a:pPr>
          <a:r>
            <a:rPr lang="en-US" sz="1300" kern="1200" dirty="0"/>
            <a:t>Community Physical Infrastructure</a:t>
          </a:r>
        </a:p>
      </dsp:txBody>
      <dsp:txXfrm>
        <a:off x="136960" y="0"/>
        <a:ext cx="2906629" cy="2187575"/>
      </dsp:txXfrm>
    </dsp:sp>
    <dsp:sp modelId="{7102E1E0-B7C3-4F76-9491-A3B3966921CA}">
      <dsp:nvSpPr>
        <dsp:cNvPr id="0" name=""/>
        <dsp:cNvSpPr/>
      </dsp:nvSpPr>
      <dsp:spPr>
        <a:xfrm>
          <a:off x="1453314"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D1A325B-39E0-401C-8088-588A028688CE}">
      <dsp:nvSpPr>
        <dsp:cNvPr id="0" name=""/>
        <dsp:cNvSpPr/>
      </dsp:nvSpPr>
      <dsp:spPr>
        <a:xfrm>
          <a:off x="1390812"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9D86B8-BFD4-44AF-8D55-0D9A10A48DEE}">
      <dsp:nvSpPr>
        <dsp:cNvPr id="0" name=""/>
        <dsp:cNvSpPr/>
      </dsp:nvSpPr>
      <dsp:spPr>
        <a:xfrm>
          <a:off x="2325303" y="2812597"/>
          <a:ext cx="1743977"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Fisheries Department</a:t>
          </a:r>
        </a:p>
      </dsp:txBody>
      <dsp:txXfrm>
        <a:off x="2325303" y="2812597"/>
        <a:ext cx="1743977" cy="625021"/>
      </dsp:txXfrm>
    </dsp:sp>
    <dsp:sp modelId="{F685149F-B90F-4BD4-9B54-2DEF8A8A4A6C}">
      <dsp:nvSpPr>
        <dsp:cNvPr id="0" name=""/>
        <dsp:cNvSpPr/>
      </dsp:nvSpPr>
      <dsp:spPr>
        <a:xfrm>
          <a:off x="1743977" y="4062640"/>
          <a:ext cx="2906629"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l" defTabSz="577850">
            <a:lnSpc>
              <a:spcPct val="90000"/>
            </a:lnSpc>
            <a:spcBef>
              <a:spcPct val="0"/>
            </a:spcBef>
            <a:spcAft>
              <a:spcPct val="35000"/>
            </a:spcAft>
            <a:buNone/>
          </a:pPr>
          <a:r>
            <a:rPr lang="en-US" sz="1300" kern="1200" dirty="0">
              <a:solidFill>
                <a:schemeClr val="tx1"/>
              </a:solidFill>
            </a:rPr>
            <a:t>Jetties and Allied Infrastructure</a:t>
          </a:r>
        </a:p>
        <a:p>
          <a:pPr marL="0" lvl="0" indent="0" algn="l" defTabSz="577850">
            <a:lnSpc>
              <a:spcPct val="90000"/>
            </a:lnSpc>
            <a:spcBef>
              <a:spcPct val="0"/>
            </a:spcBef>
            <a:spcAft>
              <a:spcPct val="35000"/>
            </a:spcAft>
            <a:buNone/>
          </a:pPr>
          <a:r>
            <a:rPr lang="en-US" sz="1300" kern="1200" dirty="0">
              <a:solidFill>
                <a:schemeClr val="tx1"/>
              </a:solidFill>
            </a:rPr>
            <a:t>Fisheries Value Chain Development</a:t>
          </a:r>
        </a:p>
        <a:p>
          <a:pPr marL="0" lvl="0" indent="0" algn="l" defTabSz="577850">
            <a:lnSpc>
              <a:spcPct val="90000"/>
            </a:lnSpc>
            <a:spcBef>
              <a:spcPct val="0"/>
            </a:spcBef>
            <a:spcAft>
              <a:spcPct val="35000"/>
            </a:spcAft>
            <a:buNone/>
          </a:pPr>
          <a:r>
            <a:rPr lang="en-US" sz="1300" kern="1200" dirty="0">
              <a:solidFill>
                <a:schemeClr val="tx1"/>
              </a:solidFill>
            </a:rPr>
            <a:t>Capacity Building of Fisheries</a:t>
          </a:r>
        </a:p>
        <a:p>
          <a:pPr marL="0" lvl="0" indent="0" algn="l" defTabSz="577850">
            <a:lnSpc>
              <a:spcPct val="90000"/>
            </a:lnSpc>
            <a:spcBef>
              <a:spcPct val="0"/>
            </a:spcBef>
            <a:spcAft>
              <a:spcPct val="35000"/>
            </a:spcAft>
            <a:buNone/>
          </a:pPr>
          <a:r>
            <a:rPr lang="en-US" sz="1300" kern="1200" dirty="0">
              <a:solidFill>
                <a:schemeClr val="tx1"/>
              </a:solidFill>
            </a:rPr>
            <a:t>Hatcheries and Innovative Aquaculture: </a:t>
          </a:r>
        </a:p>
      </dsp:txBody>
      <dsp:txXfrm>
        <a:off x="1743977" y="4062640"/>
        <a:ext cx="2906629" cy="2187575"/>
      </dsp:txXfrm>
    </dsp:sp>
    <dsp:sp modelId="{DCE1A16B-0636-427A-93E3-BFDA01FFB483}">
      <dsp:nvSpPr>
        <dsp:cNvPr id="0" name=""/>
        <dsp:cNvSpPr/>
      </dsp:nvSpPr>
      <dsp:spPr>
        <a:xfrm>
          <a:off x="3197292"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FD99470D-5920-467F-A86B-A76835223625}">
      <dsp:nvSpPr>
        <dsp:cNvPr id="0" name=""/>
        <dsp:cNvSpPr/>
      </dsp:nvSpPr>
      <dsp:spPr>
        <a:xfrm>
          <a:off x="3134790"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9A4ABC-9A91-4F53-84B8-87032F6EABB5}">
      <dsp:nvSpPr>
        <dsp:cNvPr id="0" name=""/>
        <dsp:cNvSpPr/>
      </dsp:nvSpPr>
      <dsp:spPr>
        <a:xfrm>
          <a:off x="4069280" y="2812597"/>
          <a:ext cx="1743977"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accent4"/>
              </a:solidFill>
            </a:rPr>
            <a:t>Agribusiness Support Fund (ASF)</a:t>
          </a:r>
        </a:p>
      </dsp:txBody>
      <dsp:txXfrm>
        <a:off x="4069280" y="2812597"/>
        <a:ext cx="1743977" cy="625021"/>
      </dsp:txXfrm>
    </dsp:sp>
    <dsp:sp modelId="{32E39A59-9A6A-4FE0-A09B-A2BBABB99527}">
      <dsp:nvSpPr>
        <dsp:cNvPr id="0" name=""/>
        <dsp:cNvSpPr/>
      </dsp:nvSpPr>
      <dsp:spPr>
        <a:xfrm>
          <a:off x="3487955" y="0"/>
          <a:ext cx="2906629"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Business Plan’s (32) </a:t>
          </a:r>
        </a:p>
      </dsp:txBody>
      <dsp:txXfrm>
        <a:off x="3487955" y="0"/>
        <a:ext cx="2906629" cy="2187575"/>
      </dsp:txXfrm>
    </dsp:sp>
    <dsp:sp modelId="{A1F95EA4-4E4A-4C87-8DEB-7FA5E4909DA9}">
      <dsp:nvSpPr>
        <dsp:cNvPr id="0" name=""/>
        <dsp:cNvSpPr/>
      </dsp:nvSpPr>
      <dsp:spPr>
        <a:xfrm>
          <a:off x="4941269"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2EDFE18-4AB4-4852-A119-30B21C8FF5D7}">
      <dsp:nvSpPr>
        <dsp:cNvPr id="0" name=""/>
        <dsp:cNvSpPr/>
      </dsp:nvSpPr>
      <dsp:spPr>
        <a:xfrm>
          <a:off x="4878767"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71F57E-D542-4163-95B1-92B1B114497F}">
      <dsp:nvSpPr>
        <dsp:cNvPr id="0" name=""/>
        <dsp:cNvSpPr/>
      </dsp:nvSpPr>
      <dsp:spPr>
        <a:xfrm>
          <a:off x="5813258" y="2812597"/>
          <a:ext cx="1743977"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Communication and Works Dept</a:t>
          </a:r>
        </a:p>
      </dsp:txBody>
      <dsp:txXfrm>
        <a:off x="5813258" y="2812597"/>
        <a:ext cx="1743977" cy="625021"/>
      </dsp:txXfrm>
    </dsp:sp>
    <dsp:sp modelId="{C0317DA2-D763-4621-9680-990E0F78E293}">
      <dsp:nvSpPr>
        <dsp:cNvPr id="0" name=""/>
        <dsp:cNvSpPr/>
      </dsp:nvSpPr>
      <dsp:spPr>
        <a:xfrm>
          <a:off x="5231932" y="4062640"/>
          <a:ext cx="2906629"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t>Feasibility and Construction of 120 KM Roads</a:t>
          </a:r>
        </a:p>
      </dsp:txBody>
      <dsp:txXfrm>
        <a:off x="5231932" y="4062640"/>
        <a:ext cx="2906629" cy="2187575"/>
      </dsp:txXfrm>
    </dsp:sp>
    <dsp:sp modelId="{6898D4C1-54F6-4DA4-9607-F444437C8E6E}">
      <dsp:nvSpPr>
        <dsp:cNvPr id="0" name=""/>
        <dsp:cNvSpPr/>
      </dsp:nvSpPr>
      <dsp:spPr>
        <a:xfrm>
          <a:off x="6685247"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73D486C-1D43-4208-9FD9-CC7C2550C1E8}">
      <dsp:nvSpPr>
        <dsp:cNvPr id="0" name=""/>
        <dsp:cNvSpPr/>
      </dsp:nvSpPr>
      <dsp:spPr>
        <a:xfrm>
          <a:off x="6622745"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806F64-7838-4DAA-A0FA-7BA3B336AE3F}">
      <dsp:nvSpPr>
        <dsp:cNvPr id="0" name=""/>
        <dsp:cNvSpPr/>
      </dsp:nvSpPr>
      <dsp:spPr>
        <a:xfrm>
          <a:off x="7557236" y="2812597"/>
          <a:ext cx="1743977"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FAO</a:t>
          </a:r>
        </a:p>
      </dsp:txBody>
      <dsp:txXfrm>
        <a:off x="7557236" y="2812597"/>
        <a:ext cx="1743977" cy="625021"/>
      </dsp:txXfrm>
    </dsp:sp>
    <dsp:sp modelId="{D2BFE868-07FF-48DB-8338-8A7C6ED9998F}">
      <dsp:nvSpPr>
        <dsp:cNvPr id="0" name=""/>
        <dsp:cNvSpPr/>
      </dsp:nvSpPr>
      <dsp:spPr>
        <a:xfrm>
          <a:off x="6975910" y="0"/>
          <a:ext cx="2906629"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l" defTabSz="577850">
            <a:lnSpc>
              <a:spcPct val="90000"/>
            </a:lnSpc>
            <a:spcBef>
              <a:spcPct val="0"/>
            </a:spcBef>
            <a:spcAft>
              <a:spcPct val="35000"/>
            </a:spcAft>
            <a:buNone/>
          </a:pPr>
          <a:r>
            <a:rPr lang="en-US" sz="1300" b="1" kern="1200" dirty="0">
              <a:solidFill>
                <a:schemeClr val="tx1"/>
              </a:solidFill>
            </a:rPr>
            <a:t>Collaborative Interventions</a:t>
          </a:r>
        </a:p>
        <a:p>
          <a:pPr marL="0" lvl="0" indent="0" algn="l" defTabSz="577850">
            <a:lnSpc>
              <a:spcPct val="90000"/>
            </a:lnSpc>
            <a:spcBef>
              <a:spcPct val="0"/>
            </a:spcBef>
            <a:spcAft>
              <a:spcPct val="35000"/>
            </a:spcAft>
            <a:buFont typeface="Wingdings" panose="05000000000000000000" pitchFamily="2" charset="2"/>
            <a:buNone/>
          </a:pPr>
          <a:r>
            <a:rPr lang="en-US" sz="1300" kern="1200" dirty="0">
              <a:solidFill>
                <a:schemeClr val="tx1"/>
              </a:solidFill>
            </a:rPr>
            <a:t>Climate Resilient (Farming &amp; Husbandry) </a:t>
          </a:r>
        </a:p>
      </dsp:txBody>
      <dsp:txXfrm>
        <a:off x="6975910" y="0"/>
        <a:ext cx="2906629" cy="2187575"/>
      </dsp:txXfrm>
    </dsp:sp>
    <dsp:sp modelId="{E5A47D71-1073-410A-8751-3C252482E604}">
      <dsp:nvSpPr>
        <dsp:cNvPr id="0" name=""/>
        <dsp:cNvSpPr/>
      </dsp:nvSpPr>
      <dsp:spPr>
        <a:xfrm>
          <a:off x="8429224"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AD11F15F-2F35-43E9-AAA4-CF4FE6D2B984}">
      <dsp:nvSpPr>
        <dsp:cNvPr id="0" name=""/>
        <dsp:cNvSpPr/>
      </dsp:nvSpPr>
      <dsp:spPr>
        <a:xfrm>
          <a:off x="8366722"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D22B8F-54BF-4FAE-9F7C-B58FA74468D0}">
      <dsp:nvSpPr>
        <dsp:cNvPr id="0" name=""/>
        <dsp:cNvSpPr/>
      </dsp:nvSpPr>
      <dsp:spPr>
        <a:xfrm rot="5400000">
          <a:off x="9860691" y="2253119"/>
          <a:ext cx="625021" cy="1743977"/>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WFP/SUN Movement</a:t>
          </a:r>
        </a:p>
      </dsp:txBody>
      <dsp:txXfrm rot="-5400000">
        <a:off x="9301214" y="2843108"/>
        <a:ext cx="1713466" cy="563999"/>
      </dsp:txXfrm>
    </dsp:sp>
    <dsp:sp modelId="{E1F35975-00CA-4B74-AB7C-CD8812C99AEF}">
      <dsp:nvSpPr>
        <dsp:cNvPr id="0" name=""/>
        <dsp:cNvSpPr/>
      </dsp:nvSpPr>
      <dsp:spPr>
        <a:xfrm>
          <a:off x="8719887" y="4062640"/>
          <a:ext cx="2906629"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Nutrition</a:t>
          </a:r>
        </a:p>
        <a:p>
          <a:pPr marL="0" lvl="0" indent="0" algn="ctr" defTabSz="577850">
            <a:lnSpc>
              <a:spcPct val="90000"/>
            </a:lnSpc>
            <a:spcBef>
              <a:spcPct val="0"/>
            </a:spcBef>
            <a:spcAft>
              <a:spcPct val="35000"/>
            </a:spcAft>
            <a:buNone/>
          </a:pPr>
          <a:r>
            <a:rPr lang="en-US" sz="1300" b="1" kern="1200" dirty="0">
              <a:solidFill>
                <a:schemeClr val="tx1"/>
              </a:solidFill>
            </a:rPr>
            <a:t>Collaborative Interventions</a:t>
          </a:r>
          <a:endParaRPr lang="en-US" sz="1300" kern="1200" dirty="0">
            <a:solidFill>
              <a:schemeClr val="tx1"/>
            </a:solidFill>
          </a:endParaRPr>
        </a:p>
        <a:p>
          <a:pPr marL="0" lvl="0" indent="0" algn="ctr" defTabSz="577850">
            <a:lnSpc>
              <a:spcPct val="90000"/>
            </a:lnSpc>
            <a:spcBef>
              <a:spcPct val="0"/>
            </a:spcBef>
            <a:spcAft>
              <a:spcPct val="35000"/>
            </a:spcAft>
            <a:buNone/>
          </a:pPr>
          <a:endParaRPr lang="en-US" sz="1300" kern="1200" dirty="0"/>
        </a:p>
      </dsp:txBody>
      <dsp:txXfrm>
        <a:off x="8719887" y="4062640"/>
        <a:ext cx="2906629" cy="2187575"/>
      </dsp:txXfrm>
    </dsp:sp>
    <dsp:sp modelId="{152FB453-AA1C-4C6D-86AE-2A7A4BF73B8B}">
      <dsp:nvSpPr>
        <dsp:cNvPr id="0" name=""/>
        <dsp:cNvSpPr/>
      </dsp:nvSpPr>
      <dsp:spPr>
        <a:xfrm>
          <a:off x="10173202"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C9CEA29-8429-48CF-B30A-81626D4345E2}">
      <dsp:nvSpPr>
        <dsp:cNvPr id="0" name=""/>
        <dsp:cNvSpPr/>
      </dsp:nvSpPr>
      <dsp:spPr>
        <a:xfrm>
          <a:off x="10110700"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46A88-E6FC-4529-A2AE-885FC72949EE}">
      <dsp:nvSpPr>
        <dsp:cNvPr id="0" name=""/>
        <dsp:cNvSpPr/>
      </dsp:nvSpPr>
      <dsp:spPr>
        <a:xfrm>
          <a:off x="4989566" y="2101850"/>
          <a:ext cx="996841" cy="1071604"/>
        </a:xfrm>
        <a:custGeom>
          <a:avLst/>
          <a:gdLst/>
          <a:ahLst/>
          <a:cxnLst/>
          <a:rect l="0" t="0" r="0" b="0"/>
          <a:pathLst>
            <a:path>
              <a:moveTo>
                <a:pt x="0" y="0"/>
              </a:moveTo>
              <a:lnTo>
                <a:pt x="498420" y="0"/>
              </a:lnTo>
              <a:lnTo>
                <a:pt x="498420" y="1071604"/>
              </a:lnTo>
              <a:lnTo>
                <a:pt x="996841" y="107160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586655-7968-4778-8FD0-4A691FEB4125}">
      <dsp:nvSpPr>
        <dsp:cNvPr id="0" name=""/>
        <dsp:cNvSpPr/>
      </dsp:nvSpPr>
      <dsp:spPr>
        <a:xfrm>
          <a:off x="4989566" y="1030245"/>
          <a:ext cx="996841" cy="1071604"/>
        </a:xfrm>
        <a:custGeom>
          <a:avLst/>
          <a:gdLst/>
          <a:ahLst/>
          <a:cxnLst/>
          <a:rect l="0" t="0" r="0" b="0"/>
          <a:pathLst>
            <a:path>
              <a:moveTo>
                <a:pt x="0" y="1071604"/>
              </a:moveTo>
              <a:lnTo>
                <a:pt x="498420" y="1071604"/>
              </a:lnTo>
              <a:lnTo>
                <a:pt x="498420" y="0"/>
              </a:lnTo>
              <a:lnTo>
                <a:pt x="99684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1D86E7-35E8-4D45-9FB3-BF9438C8F8CF}">
      <dsp:nvSpPr>
        <dsp:cNvPr id="0" name=""/>
        <dsp:cNvSpPr/>
      </dsp:nvSpPr>
      <dsp:spPr>
        <a:xfrm>
          <a:off x="5359" y="1341758"/>
          <a:ext cx="4984207" cy="152018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925" tIns="34925" rIns="34925" bIns="34925" numCol="1" spcCol="1270" anchor="ctr" anchorCtr="0">
          <a:noAutofit/>
        </a:bodyPr>
        <a:lstStyle/>
        <a:p>
          <a:pPr marL="0" lvl="0" indent="0" algn="ctr" defTabSz="2444750">
            <a:lnSpc>
              <a:spcPct val="90000"/>
            </a:lnSpc>
            <a:spcBef>
              <a:spcPct val="0"/>
            </a:spcBef>
            <a:spcAft>
              <a:spcPct val="35000"/>
            </a:spcAft>
            <a:buNone/>
          </a:pPr>
          <a:r>
            <a:rPr lang="en-US" sz="5500" kern="1200" dirty="0"/>
            <a:t>PMU</a:t>
          </a:r>
          <a:br>
            <a:rPr lang="en-US" sz="5500" kern="1200" dirty="0"/>
          </a:br>
          <a:r>
            <a:rPr lang="en-US" sz="5500" kern="1200" dirty="0"/>
            <a:t>Quetta</a:t>
          </a:r>
        </a:p>
      </dsp:txBody>
      <dsp:txXfrm>
        <a:off x="5359" y="1341758"/>
        <a:ext cx="4984207" cy="1520183"/>
      </dsp:txXfrm>
    </dsp:sp>
    <dsp:sp modelId="{33172C31-9F28-41A4-9CE5-24F3CE416384}">
      <dsp:nvSpPr>
        <dsp:cNvPr id="0" name=""/>
        <dsp:cNvSpPr/>
      </dsp:nvSpPr>
      <dsp:spPr>
        <a:xfrm>
          <a:off x="5986408" y="270153"/>
          <a:ext cx="4984207" cy="152018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925" tIns="34925" rIns="34925" bIns="34925" numCol="1" spcCol="1270" anchor="ctr" anchorCtr="0">
          <a:noAutofit/>
        </a:bodyPr>
        <a:lstStyle/>
        <a:p>
          <a:pPr marL="0" lvl="0" indent="0" algn="ctr" defTabSz="2444750">
            <a:lnSpc>
              <a:spcPct val="90000"/>
            </a:lnSpc>
            <a:spcBef>
              <a:spcPct val="0"/>
            </a:spcBef>
            <a:spcAft>
              <a:spcPct val="35000"/>
            </a:spcAft>
            <a:buNone/>
          </a:pPr>
          <a:r>
            <a:rPr lang="en-US" sz="5500" kern="1200" dirty="0"/>
            <a:t>PIU</a:t>
          </a:r>
          <a:br>
            <a:rPr lang="en-US" sz="5500" kern="1200" dirty="0"/>
          </a:br>
          <a:r>
            <a:rPr lang="en-US" sz="5500" kern="1200" dirty="0"/>
            <a:t>Gwadar</a:t>
          </a:r>
        </a:p>
      </dsp:txBody>
      <dsp:txXfrm>
        <a:off x="5986408" y="270153"/>
        <a:ext cx="4984207" cy="1520183"/>
      </dsp:txXfrm>
    </dsp:sp>
    <dsp:sp modelId="{879678E7-8F31-45F3-A936-E7B8F3BAA675}">
      <dsp:nvSpPr>
        <dsp:cNvPr id="0" name=""/>
        <dsp:cNvSpPr/>
      </dsp:nvSpPr>
      <dsp:spPr>
        <a:xfrm>
          <a:off x="5986408" y="2413362"/>
          <a:ext cx="4984207" cy="152018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925" tIns="34925" rIns="34925" bIns="34925" numCol="1" spcCol="1270" anchor="ctr" anchorCtr="0">
          <a:noAutofit/>
        </a:bodyPr>
        <a:lstStyle/>
        <a:p>
          <a:pPr marL="0" lvl="0" indent="0" algn="ctr" defTabSz="2444750">
            <a:lnSpc>
              <a:spcPct val="90000"/>
            </a:lnSpc>
            <a:spcBef>
              <a:spcPct val="0"/>
            </a:spcBef>
            <a:spcAft>
              <a:spcPct val="35000"/>
            </a:spcAft>
            <a:buNone/>
          </a:pPr>
          <a:r>
            <a:rPr lang="en-US" sz="5500" kern="1200" dirty="0"/>
            <a:t>PIU </a:t>
          </a:r>
          <a:br>
            <a:rPr lang="en-US" sz="5500" kern="1200" dirty="0"/>
          </a:br>
          <a:r>
            <a:rPr lang="en-US" sz="5500" kern="1200" dirty="0" err="1"/>
            <a:t>Lasbela</a:t>
          </a:r>
          <a:endParaRPr lang="en-US" sz="5500" kern="1200" dirty="0"/>
        </a:p>
      </dsp:txBody>
      <dsp:txXfrm>
        <a:off x="5986408" y="2413362"/>
        <a:ext cx="4984207" cy="15201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A9158A-BBFA-4DED-813A-1F0F318FE29F}">
      <dsp:nvSpPr>
        <dsp:cNvPr id="0" name=""/>
        <dsp:cNvSpPr/>
      </dsp:nvSpPr>
      <dsp:spPr>
        <a:xfrm rot="16200000">
          <a:off x="396547" y="2699758"/>
          <a:ext cx="625021" cy="850699"/>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July 5 -21, 2019</a:t>
          </a:r>
        </a:p>
      </dsp:txBody>
      <dsp:txXfrm rot="5400000">
        <a:off x="314220" y="2843108"/>
        <a:ext cx="820188" cy="563999"/>
      </dsp:txXfrm>
    </dsp:sp>
    <dsp:sp modelId="{8105213B-9B2C-4D83-9F1B-EF70780348BA}">
      <dsp:nvSpPr>
        <dsp:cNvPr id="0" name=""/>
        <dsp:cNvSpPr/>
      </dsp:nvSpPr>
      <dsp:spPr>
        <a:xfrm>
          <a:off x="1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t>GLLSP – II</a:t>
          </a:r>
        </a:p>
        <a:p>
          <a:pPr marL="0" lvl="0" indent="0" algn="ctr" defTabSz="488950">
            <a:lnSpc>
              <a:spcPct val="90000"/>
            </a:lnSpc>
            <a:spcBef>
              <a:spcPct val="0"/>
            </a:spcBef>
            <a:spcAft>
              <a:spcPct val="35000"/>
            </a:spcAft>
            <a:buNone/>
          </a:pPr>
          <a:r>
            <a:rPr lang="en-US" sz="1100" kern="1200" dirty="0"/>
            <a:t>Project Design</a:t>
          </a:r>
        </a:p>
      </dsp:txBody>
      <dsp:txXfrm>
        <a:off x="141" y="0"/>
        <a:ext cx="1417833" cy="2187575"/>
      </dsp:txXfrm>
    </dsp:sp>
    <dsp:sp modelId="{7102E1E0-B7C3-4F76-9491-A3B3966921CA}">
      <dsp:nvSpPr>
        <dsp:cNvPr id="0" name=""/>
        <dsp:cNvSpPr/>
      </dsp:nvSpPr>
      <dsp:spPr>
        <a:xfrm>
          <a:off x="709058"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D1A325B-39E0-401C-8088-588A028688CE}">
      <dsp:nvSpPr>
        <dsp:cNvPr id="0" name=""/>
        <dsp:cNvSpPr/>
      </dsp:nvSpPr>
      <dsp:spPr>
        <a:xfrm>
          <a:off x="6465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71F57E-D542-4163-95B1-92B1B114497F}">
      <dsp:nvSpPr>
        <dsp:cNvPr id="0" name=""/>
        <dsp:cNvSpPr/>
      </dsp:nvSpPr>
      <dsp:spPr>
        <a:xfrm>
          <a:off x="11344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October 2019</a:t>
          </a:r>
        </a:p>
      </dsp:txBody>
      <dsp:txXfrm>
        <a:off x="1134408" y="2812597"/>
        <a:ext cx="850699" cy="625021"/>
      </dsp:txXfrm>
    </dsp:sp>
    <dsp:sp modelId="{C0317DA2-D763-4621-9680-990E0F78E293}">
      <dsp:nvSpPr>
        <dsp:cNvPr id="0" name=""/>
        <dsp:cNvSpPr/>
      </dsp:nvSpPr>
      <dsp:spPr>
        <a:xfrm>
          <a:off x="850841" y="406264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a:lnSpc>
              <a:spcPct val="90000"/>
            </a:lnSpc>
            <a:spcBef>
              <a:spcPct val="0"/>
            </a:spcBef>
            <a:spcAft>
              <a:spcPct val="35000"/>
            </a:spcAft>
            <a:buNone/>
          </a:pPr>
          <a:r>
            <a:rPr lang="en-US" sz="1100" kern="1200" dirty="0"/>
            <a:t>PC-1</a:t>
          </a:r>
        </a:p>
      </dsp:txBody>
      <dsp:txXfrm>
        <a:off x="850841" y="4062640"/>
        <a:ext cx="1417833" cy="2187575"/>
      </dsp:txXfrm>
    </dsp:sp>
    <dsp:sp modelId="{6898D4C1-54F6-4DA4-9607-F444437C8E6E}">
      <dsp:nvSpPr>
        <dsp:cNvPr id="0" name=""/>
        <dsp:cNvSpPr/>
      </dsp:nvSpPr>
      <dsp:spPr>
        <a:xfrm>
          <a:off x="1559758"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73D486C-1D43-4208-9FD9-CC7C2550C1E8}">
      <dsp:nvSpPr>
        <dsp:cNvPr id="0" name=""/>
        <dsp:cNvSpPr/>
      </dsp:nvSpPr>
      <dsp:spPr>
        <a:xfrm>
          <a:off x="14972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D22B8F-54BF-4FAE-9F7C-B58FA74468D0}">
      <dsp:nvSpPr>
        <dsp:cNvPr id="0" name=""/>
        <dsp:cNvSpPr/>
      </dsp:nvSpPr>
      <dsp:spPr>
        <a:xfrm>
          <a:off x="19851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November 21, 2019</a:t>
          </a:r>
        </a:p>
      </dsp:txBody>
      <dsp:txXfrm>
        <a:off x="1985108" y="2812597"/>
        <a:ext cx="850699" cy="625021"/>
      </dsp:txXfrm>
    </dsp:sp>
    <dsp:sp modelId="{E1F35975-00CA-4B74-AB7C-CD8812C99AEF}">
      <dsp:nvSpPr>
        <dsp:cNvPr id="0" name=""/>
        <dsp:cNvSpPr/>
      </dsp:nvSpPr>
      <dsp:spPr>
        <a:xfrm>
          <a:off x="17015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t>PDWP (Provincial Development Working Party) approved</a:t>
          </a:r>
        </a:p>
      </dsp:txBody>
      <dsp:txXfrm>
        <a:off x="1701541" y="0"/>
        <a:ext cx="1417833" cy="2187575"/>
      </dsp:txXfrm>
    </dsp:sp>
    <dsp:sp modelId="{152FB453-AA1C-4C6D-86AE-2A7A4BF73B8B}">
      <dsp:nvSpPr>
        <dsp:cNvPr id="0" name=""/>
        <dsp:cNvSpPr/>
      </dsp:nvSpPr>
      <dsp:spPr>
        <a:xfrm>
          <a:off x="2410458"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C9CEA29-8429-48CF-B30A-81626D4345E2}">
      <dsp:nvSpPr>
        <dsp:cNvPr id="0" name=""/>
        <dsp:cNvSpPr/>
      </dsp:nvSpPr>
      <dsp:spPr>
        <a:xfrm>
          <a:off x="23479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14BCA6-091B-4DF5-97E7-59AAC2BED10A}">
      <dsp:nvSpPr>
        <dsp:cNvPr id="0" name=""/>
        <dsp:cNvSpPr/>
      </dsp:nvSpPr>
      <dsp:spPr>
        <a:xfrm>
          <a:off x="28358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December 5, 2019</a:t>
          </a:r>
        </a:p>
      </dsp:txBody>
      <dsp:txXfrm>
        <a:off x="2835808" y="2812597"/>
        <a:ext cx="850699" cy="625021"/>
      </dsp:txXfrm>
    </dsp:sp>
    <dsp:sp modelId="{9EB9A4EB-2FF2-4800-8AEA-CFD8C2B65D17}">
      <dsp:nvSpPr>
        <dsp:cNvPr id="0" name=""/>
        <dsp:cNvSpPr/>
      </dsp:nvSpPr>
      <dsp:spPr>
        <a:xfrm>
          <a:off x="2552241" y="406264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a:lnSpc>
              <a:spcPct val="90000"/>
            </a:lnSpc>
            <a:spcBef>
              <a:spcPct val="0"/>
            </a:spcBef>
            <a:spcAft>
              <a:spcPct val="35000"/>
            </a:spcAft>
            <a:buNone/>
          </a:pPr>
          <a:r>
            <a:rPr lang="en-US" sz="1100" kern="1200" dirty="0"/>
            <a:t>Provincial Cabinet approved</a:t>
          </a:r>
        </a:p>
      </dsp:txBody>
      <dsp:txXfrm>
        <a:off x="2552241" y="4062640"/>
        <a:ext cx="1417833" cy="2187575"/>
      </dsp:txXfrm>
    </dsp:sp>
    <dsp:sp modelId="{8AE213BA-D8A5-421E-9FDD-0DB9C17245FC}">
      <dsp:nvSpPr>
        <dsp:cNvPr id="0" name=""/>
        <dsp:cNvSpPr/>
      </dsp:nvSpPr>
      <dsp:spPr>
        <a:xfrm>
          <a:off x="3261158"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EFA63A6B-0A79-485D-8352-11725A980252}">
      <dsp:nvSpPr>
        <dsp:cNvPr id="0" name=""/>
        <dsp:cNvSpPr/>
      </dsp:nvSpPr>
      <dsp:spPr>
        <a:xfrm>
          <a:off x="31986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08F8EA-63BF-43CD-9F06-FAB14DD36490}">
      <dsp:nvSpPr>
        <dsp:cNvPr id="0" name=""/>
        <dsp:cNvSpPr/>
      </dsp:nvSpPr>
      <dsp:spPr>
        <a:xfrm>
          <a:off x="36865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January 1, 2020</a:t>
          </a:r>
        </a:p>
      </dsp:txBody>
      <dsp:txXfrm>
        <a:off x="3686508" y="2812597"/>
        <a:ext cx="850699" cy="625021"/>
      </dsp:txXfrm>
    </dsp:sp>
    <dsp:sp modelId="{EFA4158A-9CA8-4D33-A149-EB6110EA1269}">
      <dsp:nvSpPr>
        <dsp:cNvPr id="0" name=""/>
        <dsp:cNvSpPr/>
      </dsp:nvSpPr>
      <dsp:spPr>
        <a:xfrm>
          <a:off x="34029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t>CDWP</a:t>
          </a:r>
          <a:br>
            <a:rPr lang="en-US" sz="1100" kern="1200" dirty="0"/>
          </a:br>
          <a:r>
            <a:rPr lang="en-US" sz="1100" kern="1200" dirty="0"/>
            <a:t>Conditional Approval</a:t>
          </a:r>
        </a:p>
      </dsp:txBody>
      <dsp:txXfrm>
        <a:off x="3402941" y="0"/>
        <a:ext cx="1417833" cy="2187575"/>
      </dsp:txXfrm>
    </dsp:sp>
    <dsp:sp modelId="{12E85994-A1B7-4E08-899B-1A49312F5B21}">
      <dsp:nvSpPr>
        <dsp:cNvPr id="0" name=""/>
        <dsp:cNvSpPr/>
      </dsp:nvSpPr>
      <dsp:spPr>
        <a:xfrm>
          <a:off x="4111858"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312E90A0-C6A2-413B-8A56-A92B9FC00679}">
      <dsp:nvSpPr>
        <dsp:cNvPr id="0" name=""/>
        <dsp:cNvSpPr/>
      </dsp:nvSpPr>
      <dsp:spPr>
        <a:xfrm>
          <a:off x="40493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073129-181E-4CDA-8814-F1E5000C8C53}">
      <dsp:nvSpPr>
        <dsp:cNvPr id="0" name=""/>
        <dsp:cNvSpPr/>
      </dsp:nvSpPr>
      <dsp:spPr>
        <a:xfrm>
          <a:off x="45372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December, 2020</a:t>
          </a:r>
        </a:p>
      </dsp:txBody>
      <dsp:txXfrm>
        <a:off x="4537208" y="2812597"/>
        <a:ext cx="850699" cy="625021"/>
      </dsp:txXfrm>
    </dsp:sp>
    <dsp:sp modelId="{5A20FA73-3A21-4484-9105-C650E9C6EB1C}">
      <dsp:nvSpPr>
        <dsp:cNvPr id="0" name=""/>
        <dsp:cNvSpPr/>
      </dsp:nvSpPr>
      <dsp:spPr>
        <a:xfrm>
          <a:off x="4253641" y="406264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a:lnSpc>
              <a:spcPct val="90000"/>
            </a:lnSpc>
            <a:spcBef>
              <a:spcPct val="0"/>
            </a:spcBef>
            <a:spcAft>
              <a:spcPct val="35000"/>
            </a:spcAft>
            <a:buNone/>
          </a:pPr>
          <a:r>
            <a:rPr lang="en-US" sz="1100" kern="1200" dirty="0"/>
            <a:t>Revised PC-1</a:t>
          </a:r>
        </a:p>
      </dsp:txBody>
      <dsp:txXfrm>
        <a:off x="4253641" y="4062640"/>
        <a:ext cx="1417833" cy="2187575"/>
      </dsp:txXfrm>
    </dsp:sp>
    <dsp:sp modelId="{26F3F9B3-7461-4A61-97B5-AF1F062A6A31}">
      <dsp:nvSpPr>
        <dsp:cNvPr id="0" name=""/>
        <dsp:cNvSpPr/>
      </dsp:nvSpPr>
      <dsp:spPr>
        <a:xfrm>
          <a:off x="4962558"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AD3676B-B35C-4F1B-B891-E6A623B39C7E}">
      <dsp:nvSpPr>
        <dsp:cNvPr id="0" name=""/>
        <dsp:cNvSpPr/>
      </dsp:nvSpPr>
      <dsp:spPr>
        <a:xfrm>
          <a:off x="49000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5C0733-0330-4F0C-98AC-84AB3750ECBB}">
      <dsp:nvSpPr>
        <dsp:cNvPr id="0" name=""/>
        <dsp:cNvSpPr/>
      </dsp:nvSpPr>
      <dsp:spPr>
        <a:xfrm>
          <a:off x="53879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December 18, 2020</a:t>
          </a:r>
        </a:p>
      </dsp:txBody>
      <dsp:txXfrm>
        <a:off x="5387908" y="2812597"/>
        <a:ext cx="850699" cy="625021"/>
      </dsp:txXfrm>
    </dsp:sp>
    <dsp:sp modelId="{4ABF3893-110F-49A2-A0B5-F97D554EB502}">
      <dsp:nvSpPr>
        <dsp:cNvPr id="0" name=""/>
        <dsp:cNvSpPr/>
      </dsp:nvSpPr>
      <dsp:spPr>
        <a:xfrm>
          <a:off x="51043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t>PDWP (Provincial Development Working Party) approved</a:t>
          </a:r>
        </a:p>
      </dsp:txBody>
      <dsp:txXfrm>
        <a:off x="5104341" y="0"/>
        <a:ext cx="1417833" cy="2187575"/>
      </dsp:txXfrm>
    </dsp:sp>
    <dsp:sp modelId="{6CBBD92F-DE88-4D85-9025-B32662F65C69}">
      <dsp:nvSpPr>
        <dsp:cNvPr id="0" name=""/>
        <dsp:cNvSpPr/>
      </dsp:nvSpPr>
      <dsp:spPr>
        <a:xfrm>
          <a:off x="5813258"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0DC9152C-DC27-40A1-9489-4F5568F0BD0A}">
      <dsp:nvSpPr>
        <dsp:cNvPr id="0" name=""/>
        <dsp:cNvSpPr/>
      </dsp:nvSpPr>
      <dsp:spPr>
        <a:xfrm>
          <a:off x="57507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11AAD5-7310-4E62-80E4-23999FD38C38}">
      <dsp:nvSpPr>
        <dsp:cNvPr id="0" name=""/>
        <dsp:cNvSpPr/>
      </dsp:nvSpPr>
      <dsp:spPr>
        <a:xfrm>
          <a:off x="62386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February 15, 2021</a:t>
          </a:r>
        </a:p>
      </dsp:txBody>
      <dsp:txXfrm>
        <a:off x="6238608" y="2812597"/>
        <a:ext cx="850699" cy="625021"/>
      </dsp:txXfrm>
    </dsp:sp>
    <dsp:sp modelId="{EA8C2C57-BE56-4D05-A8E8-A96AD56903AD}">
      <dsp:nvSpPr>
        <dsp:cNvPr id="0" name=""/>
        <dsp:cNvSpPr/>
      </dsp:nvSpPr>
      <dsp:spPr>
        <a:xfrm>
          <a:off x="5955041" y="406264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a:lnSpc>
              <a:spcPct val="90000"/>
            </a:lnSpc>
            <a:spcBef>
              <a:spcPct val="0"/>
            </a:spcBef>
            <a:spcAft>
              <a:spcPct val="35000"/>
            </a:spcAft>
            <a:buNone/>
          </a:pPr>
          <a:r>
            <a:rPr lang="en-US" sz="1100" kern="1200" dirty="0"/>
            <a:t>CDWP</a:t>
          </a:r>
          <a:br>
            <a:rPr lang="en-US" sz="1100" kern="1200" dirty="0"/>
          </a:br>
          <a:r>
            <a:rPr lang="en-US" sz="1100" kern="1200" dirty="0"/>
            <a:t>Approved</a:t>
          </a:r>
        </a:p>
      </dsp:txBody>
      <dsp:txXfrm>
        <a:off x="5955041" y="4062640"/>
        <a:ext cx="1417833" cy="2187575"/>
      </dsp:txXfrm>
    </dsp:sp>
    <dsp:sp modelId="{CB9CAB1D-6858-48F5-9C36-F4F7202AA5F2}">
      <dsp:nvSpPr>
        <dsp:cNvPr id="0" name=""/>
        <dsp:cNvSpPr/>
      </dsp:nvSpPr>
      <dsp:spPr>
        <a:xfrm>
          <a:off x="6663958"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F4A4BEC-C32A-41B0-A75D-A154BCB3F11D}">
      <dsp:nvSpPr>
        <dsp:cNvPr id="0" name=""/>
        <dsp:cNvSpPr/>
      </dsp:nvSpPr>
      <dsp:spPr>
        <a:xfrm>
          <a:off x="66014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772133-2920-42B6-83BA-4A8604008EBB}">
      <dsp:nvSpPr>
        <dsp:cNvPr id="0" name=""/>
        <dsp:cNvSpPr/>
      </dsp:nvSpPr>
      <dsp:spPr>
        <a:xfrm>
          <a:off x="70893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March 11, 2021</a:t>
          </a:r>
        </a:p>
      </dsp:txBody>
      <dsp:txXfrm>
        <a:off x="7089308" y="2812597"/>
        <a:ext cx="850699" cy="625021"/>
      </dsp:txXfrm>
    </dsp:sp>
    <dsp:sp modelId="{35D163A5-5DA1-455B-8FC7-D95ED674E5B1}">
      <dsp:nvSpPr>
        <dsp:cNvPr id="0" name=""/>
        <dsp:cNvSpPr/>
      </dsp:nvSpPr>
      <dsp:spPr>
        <a:xfrm>
          <a:off x="68057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Executive Committee of the National Economic Council (ECNEC)</a:t>
          </a:r>
        </a:p>
      </dsp:txBody>
      <dsp:txXfrm>
        <a:off x="6805741" y="0"/>
        <a:ext cx="1417833" cy="2187575"/>
      </dsp:txXfrm>
    </dsp:sp>
    <dsp:sp modelId="{B07C20D0-A685-450C-8CD9-5FE413095B29}">
      <dsp:nvSpPr>
        <dsp:cNvPr id="0" name=""/>
        <dsp:cNvSpPr/>
      </dsp:nvSpPr>
      <dsp:spPr>
        <a:xfrm>
          <a:off x="7514658"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A149D706-E3FE-45C5-978B-34DA458357EE}">
      <dsp:nvSpPr>
        <dsp:cNvPr id="0" name=""/>
        <dsp:cNvSpPr/>
      </dsp:nvSpPr>
      <dsp:spPr>
        <a:xfrm>
          <a:off x="74521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F43FEA-0834-48CC-80D2-F9C98EE38C24}">
      <dsp:nvSpPr>
        <dsp:cNvPr id="0" name=""/>
        <dsp:cNvSpPr/>
      </dsp:nvSpPr>
      <dsp:spPr>
        <a:xfrm>
          <a:off x="79400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April 21, 2021</a:t>
          </a:r>
        </a:p>
      </dsp:txBody>
      <dsp:txXfrm>
        <a:off x="7940008" y="2812597"/>
        <a:ext cx="850699" cy="625021"/>
      </dsp:txXfrm>
    </dsp:sp>
    <dsp:sp modelId="{99A514BB-3884-415F-9CF1-B656D28B290D}">
      <dsp:nvSpPr>
        <dsp:cNvPr id="0" name=""/>
        <dsp:cNvSpPr/>
      </dsp:nvSpPr>
      <dsp:spPr>
        <a:xfrm>
          <a:off x="7656441" y="406264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a:lnSpc>
              <a:spcPct val="90000"/>
            </a:lnSpc>
            <a:spcBef>
              <a:spcPct val="0"/>
            </a:spcBef>
            <a:spcAft>
              <a:spcPct val="35000"/>
            </a:spcAft>
            <a:buNone/>
          </a:pPr>
          <a:r>
            <a:rPr lang="en-US" sz="1100" kern="1200" dirty="0"/>
            <a:t>Financial Agreement</a:t>
          </a:r>
        </a:p>
      </dsp:txBody>
      <dsp:txXfrm>
        <a:off x="7656441" y="4062640"/>
        <a:ext cx="1417833" cy="2187575"/>
      </dsp:txXfrm>
    </dsp:sp>
    <dsp:sp modelId="{CE6AA003-DA7A-48F0-94CB-282E08E278A7}">
      <dsp:nvSpPr>
        <dsp:cNvPr id="0" name=""/>
        <dsp:cNvSpPr/>
      </dsp:nvSpPr>
      <dsp:spPr>
        <a:xfrm>
          <a:off x="8365358"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0D7B4E5-A949-4B7A-AFBF-23B8671A67B3}">
      <dsp:nvSpPr>
        <dsp:cNvPr id="0" name=""/>
        <dsp:cNvSpPr/>
      </dsp:nvSpPr>
      <dsp:spPr>
        <a:xfrm>
          <a:off x="83028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1FED211-814C-4E2F-BAD3-AFCD9748E3DD}">
      <dsp:nvSpPr>
        <dsp:cNvPr id="0" name=""/>
        <dsp:cNvSpPr/>
      </dsp:nvSpPr>
      <dsp:spPr>
        <a:xfrm>
          <a:off x="8790708" y="2812597"/>
          <a:ext cx="850699"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May 27, 2021</a:t>
          </a:r>
        </a:p>
      </dsp:txBody>
      <dsp:txXfrm>
        <a:off x="8790708" y="2812597"/>
        <a:ext cx="850699" cy="625021"/>
      </dsp:txXfrm>
    </dsp:sp>
    <dsp:sp modelId="{C3DFA74F-3365-4D08-A010-707AAD545814}">
      <dsp:nvSpPr>
        <dsp:cNvPr id="0" name=""/>
        <dsp:cNvSpPr/>
      </dsp:nvSpPr>
      <dsp:spPr>
        <a:xfrm>
          <a:off x="85071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PSC Meeting (Approval of Workplan/Budget and Implementation Manual)</a:t>
          </a:r>
        </a:p>
      </dsp:txBody>
      <dsp:txXfrm>
        <a:off x="8507141" y="0"/>
        <a:ext cx="1417833" cy="2187575"/>
      </dsp:txXfrm>
    </dsp:sp>
    <dsp:sp modelId="{D9C897B8-FFB6-4C58-B5E5-97F649197DAF}">
      <dsp:nvSpPr>
        <dsp:cNvPr id="0" name=""/>
        <dsp:cNvSpPr/>
      </dsp:nvSpPr>
      <dsp:spPr>
        <a:xfrm>
          <a:off x="9216058"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7C20B12A-BB34-4A4D-AEAF-438357388139}">
      <dsp:nvSpPr>
        <dsp:cNvPr id="0" name=""/>
        <dsp:cNvSpPr/>
      </dsp:nvSpPr>
      <dsp:spPr>
        <a:xfrm>
          <a:off x="91535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B5A3E7-B3DC-4CB4-A581-7C6D150CD4CE}">
      <dsp:nvSpPr>
        <dsp:cNvPr id="0" name=""/>
        <dsp:cNvSpPr/>
      </dsp:nvSpPr>
      <dsp:spPr>
        <a:xfrm>
          <a:off x="9631361" y="2812597"/>
          <a:ext cx="870793"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September 3, 2021</a:t>
          </a:r>
        </a:p>
      </dsp:txBody>
      <dsp:txXfrm>
        <a:off x="9631361" y="2812597"/>
        <a:ext cx="870793" cy="625021"/>
      </dsp:txXfrm>
    </dsp:sp>
    <dsp:sp modelId="{EDF83352-8452-4060-95B2-861797E1B118}">
      <dsp:nvSpPr>
        <dsp:cNvPr id="0" name=""/>
        <dsp:cNvSpPr/>
      </dsp:nvSpPr>
      <dsp:spPr>
        <a:xfrm>
          <a:off x="9357841" y="406264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Project Account Opened</a:t>
          </a:r>
        </a:p>
      </dsp:txBody>
      <dsp:txXfrm>
        <a:off x="9357841" y="4062640"/>
        <a:ext cx="1417833" cy="2187575"/>
      </dsp:txXfrm>
    </dsp:sp>
    <dsp:sp modelId="{D5B43AFD-C705-41A3-A3E3-441F9B8F04A8}">
      <dsp:nvSpPr>
        <dsp:cNvPr id="0" name=""/>
        <dsp:cNvSpPr/>
      </dsp:nvSpPr>
      <dsp:spPr>
        <a:xfrm>
          <a:off x="10066758"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98341798-6BA7-400B-8B04-F7CDB9BF2EB2}">
      <dsp:nvSpPr>
        <dsp:cNvPr id="0" name=""/>
        <dsp:cNvSpPr/>
      </dsp:nvSpPr>
      <dsp:spPr>
        <a:xfrm>
          <a:off x="100042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007589-79AA-436B-A521-6A689039C51A}">
      <dsp:nvSpPr>
        <dsp:cNvPr id="0" name=""/>
        <dsp:cNvSpPr/>
      </dsp:nvSpPr>
      <dsp:spPr>
        <a:xfrm rot="5400000">
          <a:off x="10604947" y="2640676"/>
          <a:ext cx="625021" cy="968862"/>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September 23, 2021</a:t>
          </a:r>
        </a:p>
      </dsp:txBody>
      <dsp:txXfrm rot="-5400000">
        <a:off x="10433027" y="2843108"/>
        <a:ext cx="938351" cy="563999"/>
      </dsp:txXfrm>
    </dsp:sp>
    <dsp:sp modelId="{59A32783-E754-41E3-A740-899075907B5D}">
      <dsp:nvSpPr>
        <dsp:cNvPr id="0" name=""/>
        <dsp:cNvSpPr/>
      </dsp:nvSpPr>
      <dsp:spPr>
        <a:xfrm>
          <a:off x="10208541" y="0"/>
          <a:ext cx="141783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83820" numCol="1" spcCol="1270" anchor="b" anchorCtr="1">
          <a:noAutofit/>
        </a:bodyPr>
        <a:lstStyle/>
        <a:p>
          <a:pPr marL="0" lvl="0" indent="0" algn="ctr" defTabSz="488950">
            <a:lnSpc>
              <a:spcPct val="90000"/>
            </a:lnSpc>
            <a:spcBef>
              <a:spcPct val="0"/>
            </a:spcBef>
            <a:spcAft>
              <a:spcPct val="35000"/>
            </a:spcAft>
            <a:buNone/>
          </a:pPr>
          <a:r>
            <a:rPr lang="en-US" sz="1100" kern="1200" dirty="0">
              <a:solidFill>
                <a:schemeClr val="tx1"/>
              </a:solidFill>
            </a:rPr>
            <a:t>Project Launching</a:t>
          </a:r>
        </a:p>
      </dsp:txBody>
      <dsp:txXfrm>
        <a:off x="10208541" y="0"/>
        <a:ext cx="1417833" cy="2187575"/>
      </dsp:txXfrm>
    </dsp:sp>
    <dsp:sp modelId="{75B6C137-0D1A-4352-B5BF-B9BA23D55469}">
      <dsp:nvSpPr>
        <dsp:cNvPr id="0" name=""/>
        <dsp:cNvSpPr/>
      </dsp:nvSpPr>
      <dsp:spPr>
        <a:xfrm>
          <a:off x="10917458"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11AD0F7-1B8E-48E9-85EA-266E1D0C4DC5}">
      <dsp:nvSpPr>
        <dsp:cNvPr id="0" name=""/>
        <dsp:cNvSpPr/>
      </dsp:nvSpPr>
      <dsp:spPr>
        <a:xfrm>
          <a:off x="10854956"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E93CFE-4E3D-43B8-83B2-F1A89B0CE6C9}">
      <dsp:nvSpPr>
        <dsp:cNvPr id="0" name=""/>
        <dsp:cNvSpPr/>
      </dsp:nvSpPr>
      <dsp:spPr>
        <a:xfrm rot="16200000">
          <a:off x="519171" y="2626950"/>
          <a:ext cx="625021" cy="99631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September 28, 2021</a:t>
          </a:r>
        </a:p>
      </dsp:txBody>
      <dsp:txXfrm rot="5400000">
        <a:off x="364036" y="2843108"/>
        <a:ext cx="965804" cy="563999"/>
      </dsp:txXfrm>
    </dsp:sp>
    <dsp:sp modelId="{8FECFA93-98CD-44A2-820D-CA0382324CAE}">
      <dsp:nvSpPr>
        <dsp:cNvPr id="0" name=""/>
        <dsp:cNvSpPr/>
      </dsp:nvSpPr>
      <dsp:spPr>
        <a:xfrm>
          <a:off x="1419" y="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BISP (PSC) Data</a:t>
          </a:r>
          <a:br>
            <a:rPr lang="en-US" sz="1200" kern="1200" dirty="0">
              <a:solidFill>
                <a:schemeClr val="tx1"/>
              </a:solidFill>
            </a:rPr>
          </a:br>
          <a:r>
            <a:rPr lang="en-US" sz="1200" kern="1200" dirty="0">
              <a:solidFill>
                <a:schemeClr val="tx1"/>
              </a:solidFill>
            </a:rPr>
            <a:t>Meeting with P&amp;D Dept</a:t>
          </a:r>
          <a:br>
            <a:rPr lang="en-US" sz="1200" kern="1200" dirty="0">
              <a:solidFill>
                <a:schemeClr val="tx1"/>
              </a:solidFill>
            </a:rPr>
          </a:br>
          <a:r>
            <a:rPr lang="en-US" sz="1200" kern="1200" dirty="0">
              <a:solidFill>
                <a:schemeClr val="tx1"/>
              </a:solidFill>
            </a:rPr>
            <a:t>Meeting with BISP Data Sharing Committee</a:t>
          </a:r>
        </a:p>
      </dsp:txBody>
      <dsp:txXfrm>
        <a:off x="1419" y="0"/>
        <a:ext cx="1660525" cy="2187575"/>
      </dsp:txXfrm>
    </dsp:sp>
    <dsp:sp modelId="{DE79EB21-0412-43CA-9C53-437EA99BAFF9}">
      <dsp:nvSpPr>
        <dsp:cNvPr id="0" name=""/>
        <dsp:cNvSpPr/>
      </dsp:nvSpPr>
      <dsp:spPr>
        <a:xfrm>
          <a:off x="831682"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3907C1E-9C94-4F79-800C-14D2B9501FDF}">
      <dsp:nvSpPr>
        <dsp:cNvPr id="0" name=""/>
        <dsp:cNvSpPr/>
      </dsp:nvSpPr>
      <dsp:spPr>
        <a:xfrm>
          <a:off x="769179"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7B0069-BD1E-4C3F-A5A5-8A803322E330}">
      <dsp:nvSpPr>
        <dsp:cNvPr id="0" name=""/>
        <dsp:cNvSpPr/>
      </dsp:nvSpPr>
      <dsp:spPr>
        <a:xfrm>
          <a:off x="1329839"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October 11, 2021</a:t>
          </a:r>
          <a:endParaRPr lang="en-US" sz="1200" b="0" kern="1200" dirty="0">
            <a:solidFill>
              <a:schemeClr val="tx1"/>
            </a:solidFill>
          </a:endParaRPr>
        </a:p>
      </dsp:txBody>
      <dsp:txXfrm>
        <a:off x="1329839" y="2812597"/>
        <a:ext cx="996315" cy="625021"/>
      </dsp:txXfrm>
    </dsp:sp>
    <dsp:sp modelId="{399EBD78-E611-443E-AECA-3687D3841A26}">
      <dsp:nvSpPr>
        <dsp:cNvPr id="0" name=""/>
        <dsp:cNvSpPr/>
      </dsp:nvSpPr>
      <dsp:spPr>
        <a:xfrm>
          <a:off x="997734" y="406264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b="0" kern="1200" dirty="0">
              <a:solidFill>
                <a:schemeClr val="tx1"/>
              </a:solidFill>
            </a:rPr>
            <a:t>Introductory meeting with </a:t>
          </a:r>
          <a:r>
            <a:rPr lang="en-US" sz="1200" kern="1200" dirty="0"/>
            <a:t>UNOPS Pakistan for Procurement Services for Feasibility of Jetties</a:t>
          </a:r>
          <a:endParaRPr lang="en-US" sz="1200" b="0" kern="1200" dirty="0">
            <a:solidFill>
              <a:schemeClr val="tx1"/>
            </a:solidFill>
          </a:endParaRPr>
        </a:p>
      </dsp:txBody>
      <dsp:txXfrm>
        <a:off x="997734" y="4062640"/>
        <a:ext cx="1660525" cy="2187575"/>
      </dsp:txXfrm>
    </dsp:sp>
    <dsp:sp modelId="{6D0D6526-38D1-4C8B-B351-28419686EAA5}">
      <dsp:nvSpPr>
        <dsp:cNvPr id="0" name=""/>
        <dsp:cNvSpPr/>
      </dsp:nvSpPr>
      <dsp:spPr>
        <a:xfrm>
          <a:off x="1827997"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170C22D6-3C14-4D5C-857E-3EA28D91AECE}">
      <dsp:nvSpPr>
        <dsp:cNvPr id="0" name=""/>
        <dsp:cNvSpPr/>
      </dsp:nvSpPr>
      <dsp:spPr>
        <a:xfrm>
          <a:off x="1765495"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2617F1-8601-4C1C-AC30-C677B16D1B96}">
      <dsp:nvSpPr>
        <dsp:cNvPr id="0" name=""/>
        <dsp:cNvSpPr/>
      </dsp:nvSpPr>
      <dsp:spPr>
        <a:xfrm>
          <a:off x="2326154"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b="0" kern="1200" dirty="0">
              <a:solidFill>
                <a:schemeClr val="tx1"/>
              </a:solidFill>
            </a:rPr>
            <a:t>October 13, 2021</a:t>
          </a:r>
        </a:p>
      </dsp:txBody>
      <dsp:txXfrm>
        <a:off x="2326154" y="2812597"/>
        <a:ext cx="996315" cy="625021"/>
      </dsp:txXfrm>
    </dsp:sp>
    <dsp:sp modelId="{60E006DA-4418-4AF1-AA95-0601A40B1D18}">
      <dsp:nvSpPr>
        <dsp:cNvPr id="0" name=""/>
        <dsp:cNvSpPr/>
      </dsp:nvSpPr>
      <dsp:spPr>
        <a:xfrm>
          <a:off x="1994049" y="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b="0" kern="1200" dirty="0">
              <a:solidFill>
                <a:schemeClr val="tx1"/>
              </a:solidFill>
            </a:rPr>
            <a:t>Introductory Meeting with WFP (Zoom)</a:t>
          </a:r>
          <a:br>
            <a:rPr lang="en-US" sz="1200" b="0" kern="1200" dirty="0">
              <a:solidFill>
                <a:schemeClr val="tx1"/>
              </a:solidFill>
            </a:rPr>
          </a:br>
          <a:r>
            <a:rPr lang="en-US" sz="1200" b="0" kern="1200" dirty="0">
              <a:solidFill>
                <a:schemeClr val="tx1"/>
              </a:solidFill>
            </a:rPr>
            <a:t>Sent a formal letter for Proposal for WFP Interventions</a:t>
          </a:r>
        </a:p>
      </dsp:txBody>
      <dsp:txXfrm>
        <a:off x="1994049" y="0"/>
        <a:ext cx="1660525" cy="2187575"/>
      </dsp:txXfrm>
    </dsp:sp>
    <dsp:sp modelId="{7D57EAF7-DBEA-4CD9-9024-2310B92FCA87}">
      <dsp:nvSpPr>
        <dsp:cNvPr id="0" name=""/>
        <dsp:cNvSpPr/>
      </dsp:nvSpPr>
      <dsp:spPr>
        <a:xfrm>
          <a:off x="2824312"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369C00D7-1780-461A-81E5-9BFF63D7DFE3}">
      <dsp:nvSpPr>
        <dsp:cNvPr id="0" name=""/>
        <dsp:cNvSpPr/>
      </dsp:nvSpPr>
      <dsp:spPr>
        <a:xfrm>
          <a:off x="2761810"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CE5990-6130-4995-A229-2B2C0AE0B9CC}">
      <dsp:nvSpPr>
        <dsp:cNvPr id="0" name=""/>
        <dsp:cNvSpPr/>
      </dsp:nvSpPr>
      <dsp:spPr>
        <a:xfrm>
          <a:off x="3322470"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October 29, 2021</a:t>
          </a:r>
        </a:p>
      </dsp:txBody>
      <dsp:txXfrm>
        <a:off x="3322470" y="2812597"/>
        <a:ext cx="996315" cy="625021"/>
      </dsp:txXfrm>
    </dsp:sp>
    <dsp:sp modelId="{744DF757-1C96-491A-8F96-9BE62991D121}">
      <dsp:nvSpPr>
        <dsp:cNvPr id="0" name=""/>
        <dsp:cNvSpPr/>
      </dsp:nvSpPr>
      <dsp:spPr>
        <a:xfrm>
          <a:off x="2990365" y="406264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Initiated the procurement process of accounting software (TOMPRO)</a:t>
          </a:r>
        </a:p>
      </dsp:txBody>
      <dsp:txXfrm>
        <a:off x="2990365" y="4062640"/>
        <a:ext cx="1660525" cy="2187575"/>
      </dsp:txXfrm>
    </dsp:sp>
    <dsp:sp modelId="{D489328E-8E15-42E2-B975-D4A81519B11D}">
      <dsp:nvSpPr>
        <dsp:cNvPr id="0" name=""/>
        <dsp:cNvSpPr/>
      </dsp:nvSpPr>
      <dsp:spPr>
        <a:xfrm>
          <a:off x="3820627"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E6D177E-8EA2-4091-A87E-861F482BDE25}">
      <dsp:nvSpPr>
        <dsp:cNvPr id="0" name=""/>
        <dsp:cNvSpPr/>
      </dsp:nvSpPr>
      <dsp:spPr>
        <a:xfrm>
          <a:off x="3758125"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82F401-DEB3-485A-ABF0-173930C92543}">
      <dsp:nvSpPr>
        <dsp:cNvPr id="0" name=""/>
        <dsp:cNvSpPr/>
      </dsp:nvSpPr>
      <dsp:spPr>
        <a:xfrm>
          <a:off x="4318785"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1, 2021</a:t>
          </a:r>
        </a:p>
      </dsp:txBody>
      <dsp:txXfrm>
        <a:off x="4318785" y="2812597"/>
        <a:ext cx="996315" cy="625021"/>
      </dsp:txXfrm>
    </dsp:sp>
    <dsp:sp modelId="{AE10FA14-EFB0-4B6A-996F-DA410B220BA1}">
      <dsp:nvSpPr>
        <dsp:cNvPr id="0" name=""/>
        <dsp:cNvSpPr/>
      </dsp:nvSpPr>
      <dsp:spPr>
        <a:xfrm>
          <a:off x="3986680" y="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Received WFP Concept Note</a:t>
          </a:r>
        </a:p>
        <a:p>
          <a:pPr marL="0" lvl="0" indent="0" algn="ctr" defTabSz="533400">
            <a:lnSpc>
              <a:spcPct val="90000"/>
            </a:lnSpc>
            <a:spcBef>
              <a:spcPct val="0"/>
            </a:spcBef>
            <a:spcAft>
              <a:spcPct val="35000"/>
            </a:spcAft>
            <a:buNone/>
          </a:pPr>
          <a:r>
            <a:rPr lang="en-US" sz="1200" kern="1200" dirty="0">
              <a:solidFill>
                <a:schemeClr val="tx1"/>
              </a:solidFill>
            </a:rPr>
            <a:t>Shared the comments of P&amp;D and PMU on Concept Note</a:t>
          </a:r>
        </a:p>
      </dsp:txBody>
      <dsp:txXfrm>
        <a:off x="3986680" y="0"/>
        <a:ext cx="1660525" cy="2187575"/>
      </dsp:txXfrm>
    </dsp:sp>
    <dsp:sp modelId="{06BB8FE6-6687-49F5-864D-A46C1D887FF0}">
      <dsp:nvSpPr>
        <dsp:cNvPr id="0" name=""/>
        <dsp:cNvSpPr/>
      </dsp:nvSpPr>
      <dsp:spPr>
        <a:xfrm>
          <a:off x="4816943"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70227A6-4B3C-4EB8-98A9-7402EF57BCC6}">
      <dsp:nvSpPr>
        <dsp:cNvPr id="0" name=""/>
        <dsp:cNvSpPr/>
      </dsp:nvSpPr>
      <dsp:spPr>
        <a:xfrm>
          <a:off x="4754441"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3235F4-0683-4923-812B-ED830287DA0A}">
      <dsp:nvSpPr>
        <dsp:cNvPr id="0" name=""/>
        <dsp:cNvSpPr/>
      </dsp:nvSpPr>
      <dsp:spPr>
        <a:xfrm>
          <a:off x="5315100"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2, 2021</a:t>
          </a:r>
        </a:p>
      </dsp:txBody>
      <dsp:txXfrm>
        <a:off x="5315100" y="2812597"/>
        <a:ext cx="996315" cy="625021"/>
      </dsp:txXfrm>
    </dsp:sp>
    <dsp:sp modelId="{B2FD13B9-5825-4FF1-AC88-080E3BB2528A}">
      <dsp:nvSpPr>
        <dsp:cNvPr id="0" name=""/>
        <dsp:cNvSpPr/>
      </dsp:nvSpPr>
      <dsp:spPr>
        <a:xfrm>
          <a:off x="4982995" y="406264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Open BPPRA Account for Project </a:t>
          </a:r>
        </a:p>
      </dsp:txBody>
      <dsp:txXfrm>
        <a:off x="4982995" y="4062640"/>
        <a:ext cx="1660525" cy="2187575"/>
      </dsp:txXfrm>
    </dsp:sp>
    <dsp:sp modelId="{457940D4-FD75-44A9-BEE3-3B9879494F05}">
      <dsp:nvSpPr>
        <dsp:cNvPr id="0" name=""/>
        <dsp:cNvSpPr/>
      </dsp:nvSpPr>
      <dsp:spPr>
        <a:xfrm>
          <a:off x="5813258"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14B716A4-5584-497D-BC22-BF8AC72EF7BC}">
      <dsp:nvSpPr>
        <dsp:cNvPr id="0" name=""/>
        <dsp:cNvSpPr/>
      </dsp:nvSpPr>
      <dsp:spPr>
        <a:xfrm>
          <a:off x="575075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A9158A-BBFA-4DED-813A-1F0F318FE29F}">
      <dsp:nvSpPr>
        <dsp:cNvPr id="0" name=""/>
        <dsp:cNvSpPr/>
      </dsp:nvSpPr>
      <dsp:spPr>
        <a:xfrm>
          <a:off x="6311416"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6, 2021</a:t>
          </a:r>
        </a:p>
      </dsp:txBody>
      <dsp:txXfrm>
        <a:off x="6311416" y="2812597"/>
        <a:ext cx="996315" cy="625021"/>
      </dsp:txXfrm>
    </dsp:sp>
    <dsp:sp modelId="{8105213B-9B2C-4D83-9F1B-EF70780348BA}">
      <dsp:nvSpPr>
        <dsp:cNvPr id="0" name=""/>
        <dsp:cNvSpPr/>
      </dsp:nvSpPr>
      <dsp:spPr>
        <a:xfrm>
          <a:off x="5979311" y="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Advertisement of Staff Hiring</a:t>
          </a:r>
          <a:endParaRPr lang="en-US" sz="1200" kern="1200" dirty="0"/>
        </a:p>
      </dsp:txBody>
      <dsp:txXfrm>
        <a:off x="5979311" y="0"/>
        <a:ext cx="1660525" cy="2187575"/>
      </dsp:txXfrm>
    </dsp:sp>
    <dsp:sp modelId="{7102E1E0-B7C3-4F76-9491-A3B3966921CA}">
      <dsp:nvSpPr>
        <dsp:cNvPr id="0" name=""/>
        <dsp:cNvSpPr/>
      </dsp:nvSpPr>
      <dsp:spPr>
        <a:xfrm>
          <a:off x="6809573"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D1A325B-39E0-401C-8088-588A028688CE}">
      <dsp:nvSpPr>
        <dsp:cNvPr id="0" name=""/>
        <dsp:cNvSpPr/>
      </dsp:nvSpPr>
      <dsp:spPr>
        <a:xfrm>
          <a:off x="6747071"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71F57E-D542-4163-95B1-92B1B114497F}">
      <dsp:nvSpPr>
        <dsp:cNvPr id="0" name=""/>
        <dsp:cNvSpPr/>
      </dsp:nvSpPr>
      <dsp:spPr>
        <a:xfrm>
          <a:off x="7307731"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8, 2021</a:t>
          </a:r>
        </a:p>
      </dsp:txBody>
      <dsp:txXfrm>
        <a:off x="7307731" y="2812597"/>
        <a:ext cx="996315" cy="625021"/>
      </dsp:txXfrm>
    </dsp:sp>
    <dsp:sp modelId="{C0317DA2-D763-4621-9680-990E0F78E293}">
      <dsp:nvSpPr>
        <dsp:cNvPr id="0" name=""/>
        <dsp:cNvSpPr/>
      </dsp:nvSpPr>
      <dsp:spPr>
        <a:xfrm>
          <a:off x="6975626" y="406264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t>Meeting with Bahria Foundation</a:t>
          </a:r>
        </a:p>
        <a:p>
          <a:pPr marL="0" lvl="0" indent="0" algn="ctr" defTabSz="533400">
            <a:lnSpc>
              <a:spcPct val="90000"/>
            </a:lnSpc>
            <a:spcBef>
              <a:spcPct val="0"/>
            </a:spcBef>
            <a:spcAft>
              <a:spcPct val="35000"/>
            </a:spcAft>
            <a:buNone/>
          </a:pPr>
          <a:r>
            <a:rPr lang="en-US" sz="1200" kern="1200" dirty="0"/>
            <a:t>Draft MOU Shared with Department for Approval</a:t>
          </a:r>
        </a:p>
      </dsp:txBody>
      <dsp:txXfrm>
        <a:off x="6975626" y="4062640"/>
        <a:ext cx="1660525" cy="2187575"/>
      </dsp:txXfrm>
    </dsp:sp>
    <dsp:sp modelId="{6898D4C1-54F6-4DA4-9607-F444437C8E6E}">
      <dsp:nvSpPr>
        <dsp:cNvPr id="0" name=""/>
        <dsp:cNvSpPr/>
      </dsp:nvSpPr>
      <dsp:spPr>
        <a:xfrm>
          <a:off x="7805889" y="3437618"/>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73D486C-1D43-4208-9FD9-CC7C2550C1E8}">
      <dsp:nvSpPr>
        <dsp:cNvPr id="0" name=""/>
        <dsp:cNvSpPr/>
      </dsp:nvSpPr>
      <dsp:spPr>
        <a:xfrm>
          <a:off x="7743386"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D22B8F-54BF-4FAE-9F7C-B58FA74468D0}">
      <dsp:nvSpPr>
        <dsp:cNvPr id="0" name=""/>
        <dsp:cNvSpPr/>
      </dsp:nvSpPr>
      <dsp:spPr>
        <a:xfrm>
          <a:off x="8304046"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2021</a:t>
          </a:r>
        </a:p>
      </dsp:txBody>
      <dsp:txXfrm>
        <a:off x="8304046" y="2812597"/>
        <a:ext cx="996315" cy="625021"/>
      </dsp:txXfrm>
    </dsp:sp>
    <dsp:sp modelId="{E1F35975-00CA-4B74-AB7C-CD8812C99AEF}">
      <dsp:nvSpPr>
        <dsp:cNvPr id="0" name=""/>
        <dsp:cNvSpPr/>
      </dsp:nvSpPr>
      <dsp:spPr>
        <a:xfrm>
          <a:off x="7971941" y="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PMU, Quetta</a:t>
          </a:r>
        </a:p>
        <a:p>
          <a:pPr marL="0" lvl="0" indent="0" algn="ctr" defTabSz="533400">
            <a:lnSpc>
              <a:spcPct val="90000"/>
            </a:lnSpc>
            <a:spcBef>
              <a:spcPct val="0"/>
            </a:spcBef>
            <a:spcAft>
              <a:spcPct val="35000"/>
            </a:spcAft>
            <a:buNone/>
          </a:pPr>
          <a:r>
            <a:rPr lang="en-US" sz="1200" kern="1200" dirty="0"/>
            <a:t>PIU Office, </a:t>
          </a:r>
          <a:r>
            <a:rPr lang="en-US" sz="1200" kern="1200" dirty="0" err="1"/>
            <a:t>Uthal</a:t>
          </a:r>
          <a:endParaRPr lang="en-US" sz="1200" kern="1200" dirty="0"/>
        </a:p>
        <a:p>
          <a:pPr marL="0" lvl="0" indent="0" algn="ctr" defTabSz="533400">
            <a:lnSpc>
              <a:spcPct val="90000"/>
            </a:lnSpc>
            <a:spcBef>
              <a:spcPct val="0"/>
            </a:spcBef>
            <a:spcAft>
              <a:spcPct val="35000"/>
            </a:spcAft>
            <a:buNone/>
          </a:pPr>
          <a:r>
            <a:rPr lang="en-US" sz="1200" kern="1200" dirty="0"/>
            <a:t>PIU Office, Gwadar</a:t>
          </a:r>
        </a:p>
      </dsp:txBody>
      <dsp:txXfrm>
        <a:off x="7971941" y="0"/>
        <a:ext cx="1660525" cy="2187575"/>
      </dsp:txXfrm>
    </dsp:sp>
    <dsp:sp modelId="{152FB453-AA1C-4C6D-86AE-2A7A4BF73B8B}">
      <dsp:nvSpPr>
        <dsp:cNvPr id="0" name=""/>
        <dsp:cNvSpPr/>
      </dsp:nvSpPr>
      <dsp:spPr>
        <a:xfrm>
          <a:off x="8802204"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C9CEA29-8429-48CF-B30A-81626D4345E2}">
      <dsp:nvSpPr>
        <dsp:cNvPr id="0" name=""/>
        <dsp:cNvSpPr/>
      </dsp:nvSpPr>
      <dsp:spPr>
        <a:xfrm>
          <a:off x="8739702"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DE6E8B-1AD8-4589-8403-CC36F244C7A0}">
      <dsp:nvSpPr>
        <dsp:cNvPr id="0" name=""/>
        <dsp:cNvSpPr/>
      </dsp:nvSpPr>
      <dsp:spPr>
        <a:xfrm>
          <a:off x="9300362" y="2812597"/>
          <a:ext cx="996315"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2021</a:t>
          </a:r>
        </a:p>
      </dsp:txBody>
      <dsp:txXfrm>
        <a:off x="9300362" y="2812597"/>
        <a:ext cx="996315" cy="625021"/>
      </dsp:txXfrm>
    </dsp:sp>
    <dsp:sp modelId="{3A2512A2-1E50-4C2E-BED4-DFD497B33F43}">
      <dsp:nvSpPr>
        <dsp:cNvPr id="0" name=""/>
        <dsp:cNvSpPr/>
      </dsp:nvSpPr>
      <dsp:spPr>
        <a:xfrm>
          <a:off x="8968256" y="406264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Initiated Procurement Process of Vehicles</a:t>
          </a:r>
        </a:p>
      </dsp:txBody>
      <dsp:txXfrm>
        <a:off x="8968256" y="4062640"/>
        <a:ext cx="1660525" cy="2187575"/>
      </dsp:txXfrm>
    </dsp:sp>
    <dsp:sp modelId="{C56B04B2-029E-43E2-AF74-3C718268F769}">
      <dsp:nvSpPr>
        <dsp:cNvPr id="0" name=""/>
        <dsp:cNvSpPr/>
      </dsp:nvSpPr>
      <dsp:spPr>
        <a:xfrm>
          <a:off x="9798519"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6292B50-9641-4045-9519-78F1EA4B1AA7}">
      <dsp:nvSpPr>
        <dsp:cNvPr id="0" name=""/>
        <dsp:cNvSpPr/>
      </dsp:nvSpPr>
      <dsp:spPr>
        <a:xfrm>
          <a:off x="9736017"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14BCA6-091B-4DF5-97E7-59AAC2BED10A}">
      <dsp:nvSpPr>
        <dsp:cNvPr id="0" name=""/>
        <dsp:cNvSpPr/>
      </dsp:nvSpPr>
      <dsp:spPr>
        <a:xfrm rot="5400000">
          <a:off x="10482324" y="2626950"/>
          <a:ext cx="625021" cy="99631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solidFill>
                <a:schemeClr val="tx1"/>
              </a:solidFill>
            </a:rPr>
            <a:t>November 30, 2021</a:t>
          </a:r>
        </a:p>
      </dsp:txBody>
      <dsp:txXfrm rot="-5400000">
        <a:off x="10296678" y="2843108"/>
        <a:ext cx="965804" cy="563999"/>
      </dsp:txXfrm>
    </dsp:sp>
    <dsp:sp modelId="{9EB9A4EB-2FF2-4800-8AEA-CFD8C2B65D17}">
      <dsp:nvSpPr>
        <dsp:cNvPr id="0" name=""/>
        <dsp:cNvSpPr/>
      </dsp:nvSpPr>
      <dsp:spPr>
        <a:xfrm>
          <a:off x="9964572" y="0"/>
          <a:ext cx="1660525"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NOC on TOR’s SMP</a:t>
          </a:r>
        </a:p>
        <a:p>
          <a:pPr marL="0" lvl="0" indent="0" algn="ctr" defTabSz="533400">
            <a:lnSpc>
              <a:spcPct val="90000"/>
            </a:lnSpc>
            <a:spcBef>
              <a:spcPct val="0"/>
            </a:spcBef>
            <a:spcAft>
              <a:spcPct val="35000"/>
            </a:spcAft>
            <a:buNone/>
          </a:pPr>
          <a:r>
            <a:rPr lang="en-US" sz="1200" kern="1200" dirty="0"/>
            <a:t>Initiate the Hiring Process</a:t>
          </a:r>
        </a:p>
      </dsp:txBody>
      <dsp:txXfrm>
        <a:off x="9964572" y="0"/>
        <a:ext cx="1660525" cy="2187575"/>
      </dsp:txXfrm>
    </dsp:sp>
    <dsp:sp modelId="{8AE213BA-D8A5-421E-9FDD-0DB9C17245FC}">
      <dsp:nvSpPr>
        <dsp:cNvPr id="0" name=""/>
        <dsp:cNvSpPr/>
      </dsp:nvSpPr>
      <dsp:spPr>
        <a:xfrm>
          <a:off x="10794834" y="2312579"/>
          <a:ext cx="0" cy="500017"/>
        </a:xfrm>
        <a:prstGeom prst="line">
          <a:avLst/>
        </a:prstGeom>
        <a:noFill/>
        <a:ln w="12700"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EFA63A6B-0A79-485D-8352-11725A980252}">
      <dsp:nvSpPr>
        <dsp:cNvPr id="0" name=""/>
        <dsp:cNvSpPr/>
      </dsp:nvSpPr>
      <dsp:spPr>
        <a:xfrm>
          <a:off x="10732332"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EA85E1-13A0-40A2-95A8-A379E03F42D5}">
      <dsp:nvSpPr>
        <dsp:cNvPr id="0" name=""/>
        <dsp:cNvSpPr/>
      </dsp:nvSpPr>
      <dsp:spPr>
        <a:xfrm rot="16200000">
          <a:off x="809550" y="2454936"/>
          <a:ext cx="625021" cy="1340342"/>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January 05, 2022</a:t>
          </a:r>
        </a:p>
      </dsp:txBody>
      <dsp:txXfrm rot="5400000">
        <a:off x="482401" y="2843108"/>
        <a:ext cx="1309831" cy="563999"/>
      </dsp:txXfrm>
    </dsp:sp>
    <dsp:sp modelId="{24D83C7B-47EC-4067-BAAA-44DEBEB70608}">
      <dsp:nvSpPr>
        <dsp:cNvPr id="0" name=""/>
        <dsp:cNvSpPr/>
      </dsp:nvSpPr>
      <dsp:spPr>
        <a:xfrm>
          <a:off x="5109" y="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EOI Opening for Social Mobilization Partner (SMP)</a:t>
          </a:r>
        </a:p>
      </dsp:txBody>
      <dsp:txXfrm>
        <a:off x="5109" y="0"/>
        <a:ext cx="2233903" cy="2187575"/>
      </dsp:txXfrm>
    </dsp:sp>
    <dsp:sp modelId="{73F70353-DE7E-49A6-93B1-E42FB14CF15A}">
      <dsp:nvSpPr>
        <dsp:cNvPr id="0" name=""/>
        <dsp:cNvSpPr/>
      </dsp:nvSpPr>
      <dsp:spPr>
        <a:xfrm>
          <a:off x="1122061"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BED2CBA9-4216-4CCB-B4ED-603925147F00}">
      <dsp:nvSpPr>
        <dsp:cNvPr id="0" name=""/>
        <dsp:cNvSpPr/>
      </dsp:nvSpPr>
      <dsp:spPr>
        <a:xfrm>
          <a:off x="1059558"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D3D695-0401-418E-9A52-4D2040CCDFE6}">
      <dsp:nvSpPr>
        <dsp:cNvPr id="0" name=""/>
        <dsp:cNvSpPr/>
      </dsp:nvSpPr>
      <dsp:spPr>
        <a:xfrm>
          <a:off x="1792232" y="2812597"/>
          <a:ext cx="1340342"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January 11, 2022</a:t>
          </a:r>
        </a:p>
      </dsp:txBody>
      <dsp:txXfrm>
        <a:off x="1792232" y="2812597"/>
        <a:ext cx="1340342" cy="625021"/>
      </dsp:txXfrm>
    </dsp:sp>
    <dsp:sp modelId="{6E971596-ACDD-4736-AE6F-F6BD7DE2C03A}">
      <dsp:nvSpPr>
        <dsp:cNvPr id="0" name=""/>
        <dsp:cNvSpPr/>
      </dsp:nvSpPr>
      <dsp:spPr>
        <a:xfrm>
          <a:off x="1345451" y="406264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Request for Proposal (RFP) issue to NRSP 28/02/2022</a:t>
          </a:r>
        </a:p>
      </dsp:txBody>
      <dsp:txXfrm>
        <a:off x="1345451" y="4062640"/>
        <a:ext cx="2233903" cy="2187575"/>
      </dsp:txXfrm>
    </dsp:sp>
    <dsp:sp modelId="{228AFAF2-7DCB-4A2F-926B-B95BCD73BE5C}">
      <dsp:nvSpPr>
        <dsp:cNvPr id="0" name=""/>
        <dsp:cNvSpPr/>
      </dsp:nvSpPr>
      <dsp:spPr>
        <a:xfrm>
          <a:off x="2462403"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51C6F741-F2A9-4F56-A874-684D48D0AB1B}">
      <dsp:nvSpPr>
        <dsp:cNvPr id="0" name=""/>
        <dsp:cNvSpPr/>
      </dsp:nvSpPr>
      <dsp:spPr>
        <a:xfrm>
          <a:off x="2399901"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46E550-F4DB-411B-99FB-08B692D9C0BC}">
      <dsp:nvSpPr>
        <dsp:cNvPr id="0" name=""/>
        <dsp:cNvSpPr/>
      </dsp:nvSpPr>
      <dsp:spPr>
        <a:xfrm>
          <a:off x="3132574" y="2812597"/>
          <a:ext cx="1340342"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January 12, 2022</a:t>
          </a:r>
        </a:p>
      </dsp:txBody>
      <dsp:txXfrm>
        <a:off x="3132574" y="2812597"/>
        <a:ext cx="1340342" cy="625021"/>
      </dsp:txXfrm>
    </dsp:sp>
    <dsp:sp modelId="{906D32DC-0043-491C-96E9-671B45ED55F8}">
      <dsp:nvSpPr>
        <dsp:cNvPr id="0" name=""/>
        <dsp:cNvSpPr/>
      </dsp:nvSpPr>
      <dsp:spPr>
        <a:xfrm>
          <a:off x="2685793" y="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Publish </a:t>
          </a:r>
          <a:r>
            <a:rPr lang="en-US" sz="1300" kern="1200" dirty="0" err="1">
              <a:solidFill>
                <a:schemeClr val="tx1"/>
              </a:solidFill>
            </a:rPr>
            <a:t>EoI</a:t>
          </a:r>
          <a:r>
            <a:rPr lang="en-US" sz="1300" kern="1200" dirty="0">
              <a:solidFill>
                <a:schemeClr val="tx1"/>
              </a:solidFill>
            </a:rPr>
            <a:t> for Feasibility Studies of Jetties</a:t>
          </a:r>
        </a:p>
      </dsp:txBody>
      <dsp:txXfrm>
        <a:off x="2685793" y="0"/>
        <a:ext cx="2233903" cy="2187575"/>
      </dsp:txXfrm>
    </dsp:sp>
    <dsp:sp modelId="{D53019CC-0853-411B-9399-9484B6EC3B2E}">
      <dsp:nvSpPr>
        <dsp:cNvPr id="0" name=""/>
        <dsp:cNvSpPr/>
      </dsp:nvSpPr>
      <dsp:spPr>
        <a:xfrm>
          <a:off x="3802745"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5A3BDA78-0671-4186-B0FB-AE7EFE40E2A7}">
      <dsp:nvSpPr>
        <dsp:cNvPr id="0" name=""/>
        <dsp:cNvSpPr/>
      </dsp:nvSpPr>
      <dsp:spPr>
        <a:xfrm>
          <a:off x="3740243"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359B94-720B-4D1D-B874-CA529D6215E4}">
      <dsp:nvSpPr>
        <dsp:cNvPr id="0" name=""/>
        <dsp:cNvSpPr/>
      </dsp:nvSpPr>
      <dsp:spPr>
        <a:xfrm>
          <a:off x="4472916" y="2812597"/>
          <a:ext cx="1340342"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January 12, 2022</a:t>
          </a:r>
        </a:p>
      </dsp:txBody>
      <dsp:txXfrm>
        <a:off x="4472916" y="2812597"/>
        <a:ext cx="1340342" cy="625021"/>
      </dsp:txXfrm>
    </dsp:sp>
    <dsp:sp modelId="{B8B2343C-3443-45AE-8CCF-FE6AA421DCD3}">
      <dsp:nvSpPr>
        <dsp:cNvPr id="0" name=""/>
        <dsp:cNvSpPr/>
      </dsp:nvSpPr>
      <dsp:spPr>
        <a:xfrm>
          <a:off x="4026135" y="406264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Nomination of Focal Person from Fisheries </a:t>
          </a:r>
        </a:p>
      </dsp:txBody>
      <dsp:txXfrm>
        <a:off x="4026135" y="4062640"/>
        <a:ext cx="2233903" cy="2187575"/>
      </dsp:txXfrm>
    </dsp:sp>
    <dsp:sp modelId="{2011C12F-E94E-4D9F-9CBC-D9B52BED7680}">
      <dsp:nvSpPr>
        <dsp:cNvPr id="0" name=""/>
        <dsp:cNvSpPr/>
      </dsp:nvSpPr>
      <dsp:spPr>
        <a:xfrm>
          <a:off x="5143087"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04B6236-9497-46DA-A6F5-1BBA3779D9B2}">
      <dsp:nvSpPr>
        <dsp:cNvPr id="0" name=""/>
        <dsp:cNvSpPr/>
      </dsp:nvSpPr>
      <dsp:spPr>
        <a:xfrm>
          <a:off x="5080585"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12C8A4-E6F3-4189-8B44-6D83E28F6830}">
      <dsp:nvSpPr>
        <dsp:cNvPr id="0" name=""/>
        <dsp:cNvSpPr/>
      </dsp:nvSpPr>
      <dsp:spPr>
        <a:xfrm>
          <a:off x="5813258" y="2812597"/>
          <a:ext cx="1340342"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January 27, 2022</a:t>
          </a:r>
        </a:p>
      </dsp:txBody>
      <dsp:txXfrm>
        <a:off x="5813258" y="2812597"/>
        <a:ext cx="1340342" cy="625021"/>
      </dsp:txXfrm>
    </dsp:sp>
    <dsp:sp modelId="{DED8A9D1-CCDD-4137-93F8-389E176235FA}">
      <dsp:nvSpPr>
        <dsp:cNvPr id="0" name=""/>
        <dsp:cNvSpPr/>
      </dsp:nvSpPr>
      <dsp:spPr>
        <a:xfrm>
          <a:off x="5366477" y="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UNOPS </a:t>
          </a:r>
          <a:r>
            <a:rPr lang="en-US" sz="1300" kern="1200">
              <a:solidFill>
                <a:schemeClr val="tx1"/>
              </a:solidFill>
            </a:rPr>
            <a:t>Meeting Consultant for Supervision (Checker and Indentor)</a:t>
          </a:r>
          <a:endParaRPr lang="en-US" sz="1300" kern="1200" dirty="0">
            <a:solidFill>
              <a:schemeClr val="tx1"/>
            </a:solidFill>
          </a:endParaRPr>
        </a:p>
      </dsp:txBody>
      <dsp:txXfrm>
        <a:off x="5366477" y="0"/>
        <a:ext cx="2233903" cy="2187575"/>
      </dsp:txXfrm>
    </dsp:sp>
    <dsp:sp modelId="{C1B0A536-397B-46CA-904B-A6A3CC5D4B89}">
      <dsp:nvSpPr>
        <dsp:cNvPr id="0" name=""/>
        <dsp:cNvSpPr/>
      </dsp:nvSpPr>
      <dsp:spPr>
        <a:xfrm>
          <a:off x="6483429"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F3F631ED-26C1-46C5-922F-371E444A48F9}">
      <dsp:nvSpPr>
        <dsp:cNvPr id="0" name=""/>
        <dsp:cNvSpPr/>
      </dsp:nvSpPr>
      <dsp:spPr>
        <a:xfrm>
          <a:off x="6420927"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E93CFE-4E3D-43B8-83B2-F1A89B0CE6C9}">
      <dsp:nvSpPr>
        <dsp:cNvPr id="0" name=""/>
        <dsp:cNvSpPr/>
      </dsp:nvSpPr>
      <dsp:spPr>
        <a:xfrm>
          <a:off x="7153600" y="2812597"/>
          <a:ext cx="1340342"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January 31, 2022</a:t>
          </a:r>
        </a:p>
      </dsp:txBody>
      <dsp:txXfrm>
        <a:off x="7153600" y="2812597"/>
        <a:ext cx="1340342" cy="625021"/>
      </dsp:txXfrm>
    </dsp:sp>
    <dsp:sp modelId="{8FECFA93-98CD-44A2-820D-CA0382324CAE}">
      <dsp:nvSpPr>
        <dsp:cNvPr id="0" name=""/>
        <dsp:cNvSpPr/>
      </dsp:nvSpPr>
      <dsp:spPr>
        <a:xfrm>
          <a:off x="6706819" y="406264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Hiring of Staff’s</a:t>
          </a:r>
        </a:p>
      </dsp:txBody>
      <dsp:txXfrm>
        <a:off x="6706819" y="4062640"/>
        <a:ext cx="2233903" cy="2187575"/>
      </dsp:txXfrm>
    </dsp:sp>
    <dsp:sp modelId="{DE79EB21-0412-43CA-9C53-437EA99BAFF9}">
      <dsp:nvSpPr>
        <dsp:cNvPr id="0" name=""/>
        <dsp:cNvSpPr/>
      </dsp:nvSpPr>
      <dsp:spPr>
        <a:xfrm>
          <a:off x="7823771"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3907C1E-9C94-4F79-800C-14D2B9501FDF}">
      <dsp:nvSpPr>
        <dsp:cNvPr id="0" name=""/>
        <dsp:cNvSpPr/>
      </dsp:nvSpPr>
      <dsp:spPr>
        <a:xfrm>
          <a:off x="7761269"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4EFB8E1-FD11-4116-83E7-6385CD3BB6E2}">
      <dsp:nvSpPr>
        <dsp:cNvPr id="0" name=""/>
        <dsp:cNvSpPr/>
      </dsp:nvSpPr>
      <dsp:spPr>
        <a:xfrm>
          <a:off x="8493942" y="2812597"/>
          <a:ext cx="1340342" cy="62502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February 1, 2022</a:t>
          </a:r>
          <a:endParaRPr lang="en-US" sz="1300" b="0" kern="1200" dirty="0">
            <a:solidFill>
              <a:schemeClr val="tx1"/>
            </a:solidFill>
          </a:endParaRPr>
        </a:p>
      </dsp:txBody>
      <dsp:txXfrm>
        <a:off x="8493942" y="2812597"/>
        <a:ext cx="1340342" cy="625021"/>
      </dsp:txXfrm>
    </dsp:sp>
    <dsp:sp modelId="{DC213BF8-7591-4E09-BF5F-31DCB9DD3A06}">
      <dsp:nvSpPr>
        <dsp:cNvPr id="0" name=""/>
        <dsp:cNvSpPr/>
      </dsp:nvSpPr>
      <dsp:spPr>
        <a:xfrm>
          <a:off x="8047162" y="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Contract with Consultant for Procurement of Accounting Software</a:t>
          </a:r>
        </a:p>
      </dsp:txBody>
      <dsp:txXfrm>
        <a:off x="8047162" y="0"/>
        <a:ext cx="2233903" cy="2187575"/>
      </dsp:txXfrm>
    </dsp:sp>
    <dsp:sp modelId="{8FA580D8-03A5-4EE6-8B52-44E8B51001C8}">
      <dsp:nvSpPr>
        <dsp:cNvPr id="0" name=""/>
        <dsp:cNvSpPr/>
      </dsp:nvSpPr>
      <dsp:spPr>
        <a:xfrm>
          <a:off x="9164113" y="2312579"/>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081F03D-0018-4375-A459-B5764FA40FFA}">
      <dsp:nvSpPr>
        <dsp:cNvPr id="0" name=""/>
        <dsp:cNvSpPr/>
      </dsp:nvSpPr>
      <dsp:spPr>
        <a:xfrm>
          <a:off x="9101611" y="2187575"/>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7B0069-BD1E-4C3F-A5A5-8A803322E330}">
      <dsp:nvSpPr>
        <dsp:cNvPr id="0" name=""/>
        <dsp:cNvSpPr/>
      </dsp:nvSpPr>
      <dsp:spPr>
        <a:xfrm rot="5400000">
          <a:off x="10191945" y="2454936"/>
          <a:ext cx="625021" cy="1340342"/>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solidFill>
                <a:schemeClr val="tx1"/>
              </a:solidFill>
            </a:rPr>
            <a:t>February 7, 2022</a:t>
          </a:r>
          <a:endParaRPr lang="en-US" sz="1300" b="0" kern="1200" dirty="0">
            <a:solidFill>
              <a:schemeClr val="tx1"/>
            </a:solidFill>
          </a:endParaRPr>
        </a:p>
      </dsp:txBody>
      <dsp:txXfrm rot="-5400000">
        <a:off x="9834285" y="2843108"/>
        <a:ext cx="1309831" cy="563999"/>
      </dsp:txXfrm>
    </dsp:sp>
    <dsp:sp modelId="{399EBD78-E611-443E-AECA-3687D3841A26}">
      <dsp:nvSpPr>
        <dsp:cNvPr id="0" name=""/>
        <dsp:cNvSpPr/>
      </dsp:nvSpPr>
      <dsp:spPr>
        <a:xfrm>
          <a:off x="9387504" y="4062640"/>
          <a:ext cx="2233903" cy="2187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b="0" kern="1200" dirty="0">
              <a:solidFill>
                <a:schemeClr val="tx1"/>
              </a:solidFill>
            </a:rPr>
            <a:t>Contract with Vendor for Procurement of Vehicle</a:t>
          </a:r>
        </a:p>
      </dsp:txBody>
      <dsp:txXfrm>
        <a:off x="9387504" y="4062640"/>
        <a:ext cx="2233903" cy="2187575"/>
      </dsp:txXfrm>
    </dsp:sp>
    <dsp:sp modelId="{6D0D6526-38D1-4C8B-B351-28419686EAA5}">
      <dsp:nvSpPr>
        <dsp:cNvPr id="0" name=""/>
        <dsp:cNvSpPr/>
      </dsp:nvSpPr>
      <dsp:spPr>
        <a:xfrm>
          <a:off x="10504455" y="3437618"/>
          <a:ext cx="0" cy="500017"/>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170C22D6-3C14-4D5C-857E-3EA28D91AECE}">
      <dsp:nvSpPr>
        <dsp:cNvPr id="0" name=""/>
        <dsp:cNvSpPr/>
      </dsp:nvSpPr>
      <dsp:spPr>
        <a:xfrm>
          <a:off x="10441953" y="3937636"/>
          <a:ext cx="125004" cy="1250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56414" cy="465455"/>
          </a:xfrm>
          <a:prstGeom prst="rect">
            <a:avLst/>
          </a:prstGeom>
        </p:spPr>
        <p:txBody>
          <a:bodyPr vert="horz" lIns="93497" tIns="46749" rIns="93497" bIns="46749" rtlCol="0"/>
          <a:lstStyle>
            <a:lvl1pPr algn="l">
              <a:defRPr sz="1200">
                <a:latin typeface="Arial" charset="0"/>
                <a:ea typeface="+mn-ea"/>
                <a:cs typeface="Arial" charset="0"/>
              </a:defRPr>
            </a:lvl1pPr>
          </a:lstStyle>
          <a:p>
            <a:pPr>
              <a:defRPr/>
            </a:pPr>
            <a:endParaRPr lang="en-US"/>
          </a:p>
        </p:txBody>
      </p:sp>
      <p:sp>
        <p:nvSpPr>
          <p:cNvPr id="3" name="Date Placeholder 2"/>
          <p:cNvSpPr>
            <a:spLocks noGrp="1"/>
          </p:cNvSpPr>
          <p:nvPr>
            <p:ph type="dt" sz="quarter" idx="1"/>
          </p:nvPr>
        </p:nvSpPr>
        <p:spPr>
          <a:xfrm>
            <a:off x="3995217" y="3"/>
            <a:ext cx="3056414" cy="465455"/>
          </a:xfrm>
          <a:prstGeom prst="rect">
            <a:avLst/>
          </a:prstGeom>
        </p:spPr>
        <p:txBody>
          <a:bodyPr vert="horz" wrap="square" lIns="93497" tIns="46749" rIns="93497" bIns="46749" numCol="1" anchor="t" anchorCtr="0" compatLnSpc="1">
            <a:prstTxWarp prst="textNoShape">
              <a:avLst/>
            </a:prstTxWarp>
          </a:bodyPr>
          <a:lstStyle>
            <a:lvl1pPr algn="r">
              <a:defRPr sz="1200"/>
            </a:lvl1pPr>
          </a:lstStyle>
          <a:p>
            <a:pPr>
              <a:defRPr/>
            </a:pPr>
            <a:fld id="{489FDF98-13BB-4ED1-AFF4-1E53BFF91A77}" type="datetimeFigureOut">
              <a:rPr lang="en-US"/>
              <a:pPr>
                <a:defRPr/>
              </a:pPr>
              <a:t>8/15/2022</a:t>
            </a:fld>
            <a:endParaRPr lang="en-US"/>
          </a:p>
        </p:txBody>
      </p:sp>
      <p:sp>
        <p:nvSpPr>
          <p:cNvPr id="4" name="Footer Placeholder 3"/>
          <p:cNvSpPr>
            <a:spLocks noGrp="1"/>
          </p:cNvSpPr>
          <p:nvPr>
            <p:ph type="ftr" sz="quarter" idx="2"/>
          </p:nvPr>
        </p:nvSpPr>
        <p:spPr>
          <a:xfrm>
            <a:off x="0" y="8842033"/>
            <a:ext cx="3056414" cy="465455"/>
          </a:xfrm>
          <a:prstGeom prst="rect">
            <a:avLst/>
          </a:prstGeom>
        </p:spPr>
        <p:txBody>
          <a:bodyPr vert="horz" lIns="93497" tIns="46749" rIns="93497" bIns="46749" rtlCol="0" anchor="b"/>
          <a:lstStyle>
            <a:lvl1pPr algn="l">
              <a:defRPr sz="1200">
                <a:latin typeface="Arial" charset="0"/>
                <a:ea typeface="+mn-ea"/>
                <a:cs typeface="Arial" charset="0"/>
              </a:defRPr>
            </a:lvl1pPr>
          </a:lstStyle>
          <a:p>
            <a:pPr>
              <a:defRPr/>
            </a:pPr>
            <a:endParaRPr lang="en-US"/>
          </a:p>
        </p:txBody>
      </p:sp>
      <p:sp>
        <p:nvSpPr>
          <p:cNvPr id="5" name="Slide Number Placeholder 4"/>
          <p:cNvSpPr>
            <a:spLocks noGrp="1"/>
          </p:cNvSpPr>
          <p:nvPr>
            <p:ph type="sldNum" sz="quarter" idx="3"/>
          </p:nvPr>
        </p:nvSpPr>
        <p:spPr>
          <a:xfrm>
            <a:off x="3995217" y="8842033"/>
            <a:ext cx="3056414" cy="465455"/>
          </a:xfrm>
          <a:prstGeom prst="rect">
            <a:avLst/>
          </a:prstGeom>
        </p:spPr>
        <p:txBody>
          <a:bodyPr vert="horz" wrap="square" lIns="93497" tIns="46749" rIns="93497" bIns="46749" numCol="1" anchor="b" anchorCtr="0" compatLnSpc="1">
            <a:prstTxWarp prst="textNoShape">
              <a:avLst/>
            </a:prstTxWarp>
          </a:bodyPr>
          <a:lstStyle>
            <a:lvl1pPr algn="r">
              <a:defRPr sz="1200"/>
            </a:lvl1pPr>
          </a:lstStyle>
          <a:p>
            <a:pPr>
              <a:defRPr/>
            </a:pPr>
            <a:fld id="{5BB6F497-5CDB-4B4D-8072-8402A6500E04}" type="slidenum">
              <a:rPr lang="en-US"/>
              <a:pPr>
                <a:defRPr/>
              </a:pPr>
              <a:t>‹#›</a:t>
            </a:fld>
            <a:endParaRPr lang="en-US"/>
          </a:p>
        </p:txBody>
      </p:sp>
    </p:spTree>
    <p:extLst>
      <p:ext uri="{BB962C8B-B14F-4D97-AF65-F5344CB8AC3E}">
        <p14:creationId xmlns:p14="http://schemas.microsoft.com/office/powerpoint/2010/main" val="1137158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56414" cy="465455"/>
          </a:xfrm>
          <a:prstGeom prst="rect">
            <a:avLst/>
          </a:prstGeom>
        </p:spPr>
        <p:txBody>
          <a:bodyPr vert="horz" lIns="93497" tIns="46749" rIns="93497" bIns="46749"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95217" y="3"/>
            <a:ext cx="3056414" cy="465455"/>
          </a:xfrm>
          <a:prstGeom prst="rect">
            <a:avLst/>
          </a:prstGeom>
        </p:spPr>
        <p:txBody>
          <a:bodyPr vert="horz" wrap="square" lIns="93497" tIns="46749" rIns="93497" bIns="46749" numCol="1" anchor="t" anchorCtr="0" compatLnSpc="1">
            <a:prstTxWarp prst="textNoShape">
              <a:avLst/>
            </a:prstTxWarp>
          </a:bodyPr>
          <a:lstStyle>
            <a:lvl1pPr algn="r">
              <a:defRPr sz="1200">
                <a:latin typeface="Calibri" pitchFamily="34" charset="0"/>
              </a:defRPr>
            </a:lvl1pPr>
          </a:lstStyle>
          <a:p>
            <a:pPr>
              <a:defRPr/>
            </a:pPr>
            <a:fld id="{D3FE294C-C2B6-45A6-A417-A2DFF3218026}" type="datetimeFigureOut">
              <a:rPr lang="en-US"/>
              <a:pPr>
                <a:defRPr/>
              </a:pPr>
              <a:t>8/15/2022</a:t>
            </a:fld>
            <a:endParaRPr lang="en-US"/>
          </a:p>
        </p:txBody>
      </p:sp>
      <p:sp>
        <p:nvSpPr>
          <p:cNvPr id="4" name="Slide Image Placeholder 3"/>
          <p:cNvSpPr>
            <a:spLocks noGrp="1" noRot="1" noChangeAspect="1"/>
          </p:cNvSpPr>
          <p:nvPr>
            <p:ph type="sldImg" idx="2"/>
          </p:nvPr>
        </p:nvSpPr>
        <p:spPr>
          <a:xfrm>
            <a:off x="422275" y="698500"/>
            <a:ext cx="6208713" cy="3492500"/>
          </a:xfrm>
          <a:prstGeom prst="rect">
            <a:avLst/>
          </a:prstGeom>
          <a:noFill/>
          <a:ln w="12700">
            <a:solidFill>
              <a:prstClr val="black"/>
            </a:solidFill>
          </a:ln>
        </p:spPr>
        <p:txBody>
          <a:bodyPr vert="horz" lIns="93497" tIns="46749" rIns="93497" bIns="46749" rtlCol="0" anchor="ctr"/>
          <a:lstStyle/>
          <a:p>
            <a:pPr lvl="0"/>
            <a:endParaRPr lang="en-US" noProof="0"/>
          </a:p>
        </p:txBody>
      </p:sp>
      <p:sp>
        <p:nvSpPr>
          <p:cNvPr id="5" name="Notes Placeholder 4"/>
          <p:cNvSpPr>
            <a:spLocks noGrp="1"/>
          </p:cNvSpPr>
          <p:nvPr>
            <p:ph type="body" sz="quarter" idx="3"/>
          </p:nvPr>
        </p:nvSpPr>
        <p:spPr>
          <a:xfrm>
            <a:off x="705327" y="4421825"/>
            <a:ext cx="5642610" cy="4189095"/>
          </a:xfrm>
          <a:prstGeom prst="rect">
            <a:avLst/>
          </a:prstGeom>
        </p:spPr>
        <p:txBody>
          <a:bodyPr vert="horz" lIns="93497" tIns="46749" rIns="93497" bIns="4674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42033"/>
            <a:ext cx="3056414" cy="465455"/>
          </a:xfrm>
          <a:prstGeom prst="rect">
            <a:avLst/>
          </a:prstGeom>
        </p:spPr>
        <p:txBody>
          <a:bodyPr vert="horz" lIns="93497" tIns="46749" rIns="93497" bIns="46749"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95217" y="8842033"/>
            <a:ext cx="3056414" cy="465455"/>
          </a:xfrm>
          <a:prstGeom prst="rect">
            <a:avLst/>
          </a:prstGeom>
        </p:spPr>
        <p:txBody>
          <a:bodyPr vert="horz" wrap="square" lIns="93497" tIns="46749" rIns="93497" bIns="46749" numCol="1" anchor="b" anchorCtr="0" compatLnSpc="1">
            <a:prstTxWarp prst="textNoShape">
              <a:avLst/>
            </a:prstTxWarp>
          </a:bodyPr>
          <a:lstStyle>
            <a:lvl1pPr algn="r">
              <a:defRPr sz="1200">
                <a:latin typeface="Calibri" pitchFamily="34" charset="0"/>
              </a:defRPr>
            </a:lvl1pPr>
          </a:lstStyle>
          <a:p>
            <a:pPr>
              <a:defRPr/>
            </a:pPr>
            <a:fld id="{9273AADB-B78B-4FC7-8C35-5EADC28719B5}" type="slidenum">
              <a:rPr lang="en-US"/>
              <a:pPr>
                <a:defRPr/>
              </a:pPr>
              <a:t>‹#›</a:t>
            </a:fld>
            <a:endParaRPr lang="en-US"/>
          </a:p>
        </p:txBody>
      </p:sp>
    </p:spTree>
    <p:extLst>
      <p:ext uri="{BB962C8B-B14F-4D97-AF65-F5344CB8AC3E}">
        <p14:creationId xmlns:p14="http://schemas.microsoft.com/office/powerpoint/2010/main" val="3463779412"/>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698500"/>
            <a:ext cx="6208713" cy="3492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273AADB-B78B-4FC7-8C35-5EADC28719B5}" type="slidenum">
              <a:rPr lang="en-US" smtClean="0"/>
              <a:pPr>
                <a:defRPr/>
              </a:pPr>
              <a:t>2</a:t>
            </a:fld>
            <a:endParaRPr lang="en-US"/>
          </a:p>
        </p:txBody>
      </p:sp>
    </p:spTree>
    <p:extLst>
      <p:ext uri="{BB962C8B-B14F-4D97-AF65-F5344CB8AC3E}">
        <p14:creationId xmlns:p14="http://schemas.microsoft.com/office/powerpoint/2010/main" val="73110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A9B167-7B43-499C-8F1F-F361FB81040A}" type="slidenum">
              <a:rPr lang="en-US" smtClean="0"/>
              <a:pPr/>
              <a:t>16</a:t>
            </a:fld>
            <a:endParaRPr lang="en-US"/>
          </a:p>
        </p:txBody>
      </p:sp>
    </p:spTree>
    <p:extLst>
      <p:ext uri="{BB962C8B-B14F-4D97-AF65-F5344CB8AC3E}">
        <p14:creationId xmlns:p14="http://schemas.microsoft.com/office/powerpoint/2010/main" val="1057193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A9B167-7B43-499C-8F1F-F361FB81040A}" type="slidenum">
              <a:rPr lang="en-US" smtClean="0"/>
              <a:pPr/>
              <a:t>17</a:t>
            </a:fld>
            <a:endParaRPr lang="en-US"/>
          </a:p>
        </p:txBody>
      </p:sp>
    </p:spTree>
    <p:extLst>
      <p:ext uri="{BB962C8B-B14F-4D97-AF65-F5344CB8AC3E}">
        <p14:creationId xmlns:p14="http://schemas.microsoft.com/office/powerpoint/2010/main" val="1199632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A9B167-7B43-499C-8F1F-F361FB81040A}" type="slidenum">
              <a:rPr lang="en-US" smtClean="0"/>
              <a:pPr/>
              <a:t>18</a:t>
            </a:fld>
            <a:endParaRPr lang="en-US"/>
          </a:p>
        </p:txBody>
      </p:sp>
    </p:spTree>
    <p:extLst>
      <p:ext uri="{BB962C8B-B14F-4D97-AF65-F5344CB8AC3E}">
        <p14:creationId xmlns:p14="http://schemas.microsoft.com/office/powerpoint/2010/main" val="205106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9273AADB-B78B-4FC7-8C35-5EADC28719B5}" type="slidenum">
              <a:rPr lang="en-US" smtClean="0"/>
              <a:pPr>
                <a:defRPr/>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The total cost of the project is PKR 12,328.549 million, which include IFAD Blend Terms Loan PKR 10,234.122 million, IFAD Grant PKR. 508.245 million, Government of Balochistan share PKR. 1,478.501 million and Beneficiary share PKR. 107.681 million.</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Total USD 75.061  (Loan USD 62.898 million, </a:t>
            </a:r>
            <a:r>
              <a:rPr lang="en-US" sz="1800" dirty="0" err="1">
                <a:effectLst/>
                <a:latin typeface="Calibri" panose="020F0502020204030204" pitchFamily="34" charset="0"/>
                <a:ea typeface="Calibri" panose="020F0502020204030204" pitchFamily="34" charset="0"/>
                <a:cs typeface="Arial" panose="020B0604020202020204" pitchFamily="34" charset="0"/>
              </a:rPr>
              <a:t>GoB</a:t>
            </a:r>
            <a:r>
              <a:rPr lang="en-US" sz="1800" dirty="0">
                <a:effectLst/>
                <a:latin typeface="Calibri" panose="020F0502020204030204" pitchFamily="34" charset="0"/>
                <a:ea typeface="Calibri" panose="020F0502020204030204" pitchFamily="34" charset="0"/>
                <a:cs typeface="Arial" panose="020B0604020202020204" pitchFamily="34" charset="0"/>
              </a:rPr>
              <a:t> USD 8.058 million,  IFAD Grant USD 3.083,  Beneficiary Share USD 1.021 million )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9273AADB-B78B-4FC7-8C35-5EADC28719B5}" type="slidenum">
              <a:rPr lang="en-US" smtClean="0"/>
              <a:pPr>
                <a:defRPr/>
              </a:pPr>
              <a:t>5</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273AADB-B78B-4FC7-8C35-5EADC28719B5}" type="slidenum">
              <a:rPr lang="en-US" smtClean="0"/>
              <a:pPr>
                <a:defRPr/>
              </a:pPr>
              <a:t>8</a:t>
            </a:fld>
            <a:endParaRPr lang="en-US"/>
          </a:p>
        </p:txBody>
      </p:sp>
    </p:spTree>
    <p:extLst>
      <p:ext uri="{BB962C8B-B14F-4D97-AF65-F5344CB8AC3E}">
        <p14:creationId xmlns:p14="http://schemas.microsoft.com/office/powerpoint/2010/main" val="1959823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273AADB-B78B-4FC7-8C35-5EADC28719B5}" type="slidenum">
              <a:rPr lang="en-US" smtClean="0"/>
              <a:pPr>
                <a:defRPr/>
              </a:pPr>
              <a:t>9</a:t>
            </a:fld>
            <a:endParaRPr lang="en-US"/>
          </a:p>
        </p:txBody>
      </p:sp>
    </p:spTree>
    <p:extLst>
      <p:ext uri="{BB962C8B-B14F-4D97-AF65-F5344CB8AC3E}">
        <p14:creationId xmlns:p14="http://schemas.microsoft.com/office/powerpoint/2010/main" val="741491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arket Access</a:t>
            </a:r>
            <a:r>
              <a:rPr lang="en-US" baseline="0" dirty="0"/>
              <a:t> Roads: 80 kilometers from farm to market and 80 kilometers from fish landing site to highway</a:t>
            </a:r>
          </a:p>
          <a:p>
            <a:endParaRPr lang="en-US" dirty="0"/>
          </a:p>
          <a:p>
            <a:r>
              <a:rPr lang="en-US" dirty="0"/>
              <a:t>*Allied</a:t>
            </a:r>
            <a:r>
              <a:rPr lang="en-US" baseline="0" dirty="0"/>
              <a:t> Infrastructure Include: Chill Room (3), Flake Ice Plant (3), Gear Storage (3), Repair Workshop &amp; Fuel Facility (3), Office Accommodation (3), Public Toilet (3)</a:t>
            </a:r>
          </a:p>
          <a:p>
            <a:endParaRPr lang="en-US" baseline="0" dirty="0"/>
          </a:p>
          <a:p>
            <a:r>
              <a:rPr lang="en-US" baseline="0" dirty="0"/>
              <a:t>46,000 fishing person benefits from jetties, infrastructure schemes, concrete path for boat landing 40, RO Plants, and fishing cooperatives, fisheries value chain activities,</a:t>
            </a:r>
          </a:p>
        </p:txBody>
      </p:sp>
      <p:sp>
        <p:nvSpPr>
          <p:cNvPr id="4" name="Slide Number Placeholder 3"/>
          <p:cNvSpPr>
            <a:spLocks noGrp="1"/>
          </p:cNvSpPr>
          <p:nvPr>
            <p:ph type="sldNum" sz="quarter" idx="10"/>
          </p:nvPr>
        </p:nvSpPr>
        <p:spPr/>
        <p:txBody>
          <a:bodyPr/>
          <a:lstStyle/>
          <a:p>
            <a:pPr>
              <a:defRPr/>
            </a:pPr>
            <a:fld id="{9273AADB-B78B-4FC7-8C35-5EADC28719B5}" type="slidenum">
              <a:rPr lang="en-US" smtClean="0"/>
              <a:pPr>
                <a:defRPr/>
              </a:pPr>
              <a:t>12</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A9B167-7B43-499C-8F1F-F361FB81040A}" type="slidenum">
              <a:rPr lang="en-US" smtClean="0"/>
              <a:pPr/>
              <a:t>13</a:t>
            </a:fld>
            <a:endParaRPr lang="en-US"/>
          </a:p>
        </p:txBody>
      </p:sp>
    </p:spTree>
    <p:extLst>
      <p:ext uri="{BB962C8B-B14F-4D97-AF65-F5344CB8AC3E}">
        <p14:creationId xmlns:p14="http://schemas.microsoft.com/office/powerpoint/2010/main" val="23825545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A9B167-7B43-499C-8F1F-F361FB81040A}" type="slidenum">
              <a:rPr lang="en-US" smtClean="0"/>
              <a:pPr/>
              <a:t>14</a:t>
            </a:fld>
            <a:endParaRPr lang="en-US" dirty="0"/>
          </a:p>
        </p:txBody>
      </p:sp>
    </p:spTree>
    <p:extLst>
      <p:ext uri="{BB962C8B-B14F-4D97-AF65-F5344CB8AC3E}">
        <p14:creationId xmlns:p14="http://schemas.microsoft.com/office/powerpoint/2010/main" val="1057193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ject Management Unit (PMU)</a:t>
            </a:r>
          </a:p>
          <a:p>
            <a:r>
              <a:rPr lang="en-US" dirty="0"/>
              <a:t>Project Implementation Unit (PIU)</a:t>
            </a:r>
          </a:p>
        </p:txBody>
      </p:sp>
      <p:sp>
        <p:nvSpPr>
          <p:cNvPr id="4" name="Slide Number Placeholder 3"/>
          <p:cNvSpPr>
            <a:spLocks noGrp="1"/>
          </p:cNvSpPr>
          <p:nvPr>
            <p:ph type="sldNum" sz="quarter" idx="5"/>
          </p:nvPr>
        </p:nvSpPr>
        <p:spPr/>
        <p:txBody>
          <a:bodyPr/>
          <a:lstStyle/>
          <a:p>
            <a:pPr>
              <a:defRPr/>
            </a:pPr>
            <a:fld id="{9273AADB-B78B-4FC7-8C35-5EADC28719B5}" type="slidenum">
              <a:rPr lang="en-US" smtClean="0"/>
              <a:pPr>
                <a:defRPr/>
              </a:pPr>
              <a:t>15</a:t>
            </a:fld>
            <a:endParaRPr lang="en-US"/>
          </a:p>
        </p:txBody>
      </p:sp>
    </p:spTree>
    <p:extLst>
      <p:ext uri="{BB962C8B-B14F-4D97-AF65-F5344CB8AC3E}">
        <p14:creationId xmlns:p14="http://schemas.microsoft.com/office/powerpoint/2010/main" val="19513607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a:spLocks noChangeArrowheads="1"/>
          </p:cNvSpPr>
          <p:nvPr userDrawn="1"/>
        </p:nvSpPr>
        <p:spPr bwMode="auto">
          <a:xfrm>
            <a:off x="203200" y="2057884"/>
            <a:ext cx="11988800" cy="4259787"/>
          </a:xfrm>
          <a:prstGeom prst="rect">
            <a:avLst/>
          </a:prstGeom>
          <a:solidFill>
            <a:srgbClr val="CCECFF">
              <a:alpha val="49804"/>
            </a:srgbClr>
          </a:solidFill>
          <a:ln w="9525">
            <a:noFill/>
            <a:miter lim="800000"/>
            <a:headEnd/>
            <a:tailEnd/>
          </a:ln>
        </p:spPr>
        <p:txBody>
          <a:bodyPr wrap="none" anchor="ctr"/>
          <a:lstStyle/>
          <a:p>
            <a:pPr defTabSz="914400" eaLnBrk="0" hangingPunct="0">
              <a:defRPr/>
            </a:pPr>
            <a:endParaRPr lang="en-US" sz="2800">
              <a:solidFill>
                <a:srgbClr val="000000"/>
              </a:solidFill>
            </a:endParaRPr>
          </a:p>
        </p:txBody>
      </p:sp>
      <p:sp>
        <p:nvSpPr>
          <p:cNvPr id="5" name="Rectangle 8"/>
          <p:cNvSpPr>
            <a:spLocks noChangeArrowheads="1"/>
          </p:cNvSpPr>
          <p:nvPr userDrawn="1"/>
        </p:nvSpPr>
        <p:spPr bwMode="auto">
          <a:xfrm>
            <a:off x="0" y="1403259"/>
            <a:ext cx="12192000" cy="90663"/>
          </a:xfrm>
          <a:prstGeom prst="rect">
            <a:avLst/>
          </a:prstGeom>
          <a:solidFill>
            <a:srgbClr val="006633"/>
          </a:solidFill>
          <a:ln w="9525">
            <a:noFill/>
            <a:miter lim="800000"/>
            <a:headEnd/>
            <a:tailEnd/>
          </a:ln>
        </p:spPr>
        <p:txBody>
          <a:bodyPr wrap="none" anchor="ctr"/>
          <a:lstStyle/>
          <a:p>
            <a:pPr defTabSz="914400" eaLnBrk="0" hangingPunct="0">
              <a:defRPr/>
            </a:pPr>
            <a:endParaRPr lang="en-US" sz="2800">
              <a:solidFill>
                <a:srgbClr val="000000"/>
              </a:solidFill>
            </a:endParaRPr>
          </a:p>
        </p:txBody>
      </p:sp>
      <p:sp>
        <p:nvSpPr>
          <p:cNvPr id="6" name="Rectangle 9"/>
          <p:cNvSpPr>
            <a:spLocks noChangeArrowheads="1"/>
          </p:cNvSpPr>
          <p:nvPr userDrawn="1"/>
        </p:nvSpPr>
        <p:spPr bwMode="auto">
          <a:xfrm>
            <a:off x="0" y="1493922"/>
            <a:ext cx="203200" cy="5364079"/>
          </a:xfrm>
          <a:prstGeom prst="rect">
            <a:avLst/>
          </a:prstGeom>
          <a:solidFill>
            <a:srgbClr val="0776BB"/>
          </a:solidFill>
          <a:ln w="9525">
            <a:noFill/>
            <a:miter lim="800000"/>
            <a:headEnd/>
            <a:tailEnd/>
          </a:ln>
        </p:spPr>
        <p:txBody>
          <a:bodyPr wrap="none" anchor="ctr"/>
          <a:lstStyle/>
          <a:p>
            <a:pPr defTabSz="914400" eaLnBrk="0" hangingPunct="0">
              <a:defRPr/>
            </a:pPr>
            <a:endParaRPr lang="en-US" sz="2800">
              <a:solidFill>
                <a:srgbClr val="000000"/>
              </a:solidFill>
            </a:endParaRPr>
          </a:p>
        </p:txBody>
      </p:sp>
      <p:sp>
        <p:nvSpPr>
          <p:cNvPr id="5122" name="Rectangle 2"/>
          <p:cNvSpPr>
            <a:spLocks noGrp="1" noChangeArrowheads="1"/>
          </p:cNvSpPr>
          <p:nvPr>
            <p:ph type="ctrTitle"/>
          </p:nvPr>
        </p:nvSpPr>
        <p:spPr>
          <a:xfrm>
            <a:off x="1016000" y="2286971"/>
            <a:ext cx="10363200" cy="1781315"/>
          </a:xfrm>
        </p:spPr>
        <p:txBody>
          <a:bodyPr/>
          <a:lstStyle>
            <a:lvl1pPr algn="ctr">
              <a:defRPr sz="4000"/>
            </a:lvl1pPr>
          </a:lstStyle>
          <a:p>
            <a:r>
              <a:rPr lang="en-US" dirty="0"/>
              <a:t>Click to edit Master title style</a:t>
            </a:r>
          </a:p>
        </p:txBody>
      </p:sp>
      <p:sp>
        <p:nvSpPr>
          <p:cNvPr id="5123" name="Rectangle 3"/>
          <p:cNvSpPr>
            <a:spLocks noGrp="1" noChangeArrowheads="1"/>
          </p:cNvSpPr>
          <p:nvPr>
            <p:ph type="subTitle" idx="1"/>
          </p:nvPr>
        </p:nvSpPr>
        <p:spPr>
          <a:xfrm>
            <a:off x="1828800" y="4220685"/>
            <a:ext cx="8534400" cy="838200"/>
          </a:xfrm>
        </p:spPr>
        <p:txBody>
          <a:bodyPr/>
          <a:lstStyle>
            <a:lvl1pPr marL="0" indent="0" algn="ctr">
              <a:buFontTx/>
              <a:buNone/>
              <a:defRPr/>
            </a:lvl1pPr>
          </a:lstStyle>
          <a:p>
            <a:r>
              <a:rPr lang="en-US" dirty="0"/>
              <a:t>Click to edit Master subtitle style</a:t>
            </a:r>
          </a:p>
        </p:txBody>
      </p:sp>
      <p:pic>
        <p:nvPicPr>
          <p:cNvPr id="15" name="Picture 1" descr="005 (0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200" y="110860"/>
            <a:ext cx="1143626" cy="1004157"/>
          </a:xfrm>
          <a:prstGeom prst="rect">
            <a:avLst/>
          </a:prstGeom>
          <a:noFill/>
        </p:spPr>
      </p:pic>
      <p:sp>
        <p:nvSpPr>
          <p:cNvPr id="13" name="Rectangle 2"/>
          <p:cNvSpPr txBox="1">
            <a:spLocks noChangeArrowheads="1"/>
          </p:cNvSpPr>
          <p:nvPr userDrawn="1"/>
        </p:nvSpPr>
        <p:spPr bwMode="auto">
          <a:xfrm>
            <a:off x="2402011" y="288444"/>
            <a:ext cx="6644807"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ＭＳ Ｐゴシック" charset="0"/>
                <a:cs typeface="ＭＳ Ｐゴシック" charset="0"/>
              </a:defRPr>
            </a:lvl1pPr>
            <a:lvl2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pPr algn="ctr" defTabSz="914400"/>
            <a:r>
              <a:rPr lang="en-US" sz="2800" kern="0" dirty="0"/>
              <a:t>GLLSP</a:t>
            </a:r>
            <a:r>
              <a:rPr lang="en-US" sz="2800" kern="0" baseline="0" dirty="0"/>
              <a:t> </a:t>
            </a:r>
            <a:endParaRPr lang="en-US" sz="2800" kern="0" dirty="0"/>
          </a:p>
        </p:txBody>
      </p:sp>
      <p:pic>
        <p:nvPicPr>
          <p:cNvPr id="3" name="Picture 2">
            <a:extLst>
              <a:ext uri="{FF2B5EF4-FFF2-40B4-BE49-F238E27FC236}">
                <a16:creationId xmlns:a16="http://schemas.microsoft.com/office/drawing/2014/main" id="{10AB8F98-53AB-446C-A1BF-FB17FDFF4DB0}"/>
              </a:ext>
            </a:extLst>
          </p:cNvPr>
          <p:cNvPicPr>
            <a:picLocks noChangeAspect="1"/>
          </p:cNvPicPr>
          <p:nvPr userDrawn="1"/>
        </p:nvPicPr>
        <p:blipFill>
          <a:blip r:embed="rId3"/>
          <a:stretch>
            <a:fillRect/>
          </a:stretch>
        </p:blipFill>
        <p:spPr>
          <a:xfrm>
            <a:off x="10270233" y="196548"/>
            <a:ext cx="1803234" cy="91847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7728" y="1257800"/>
            <a:ext cx="10976755" cy="609600"/>
          </a:xfrm>
        </p:spPr>
        <p:txBody>
          <a:bodyPr/>
          <a:lstStyle/>
          <a:p>
            <a:r>
              <a:rPr lang="en-US"/>
              <a:t>Click to edit Master title style</a:t>
            </a:r>
          </a:p>
        </p:txBody>
      </p:sp>
      <p:sp>
        <p:nvSpPr>
          <p:cNvPr id="3" name="Content Placeholder 2"/>
          <p:cNvSpPr>
            <a:spLocks noGrp="1"/>
          </p:cNvSpPr>
          <p:nvPr>
            <p:ph idx="1"/>
          </p:nvPr>
        </p:nvSpPr>
        <p:spPr>
          <a:xfrm>
            <a:off x="597728" y="2019800"/>
            <a:ext cx="10976755" cy="42028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xfrm>
            <a:off x="914400" y="6324939"/>
            <a:ext cx="2540000" cy="457200"/>
          </a:xfrm>
          <a:prstGeom prst="rect">
            <a:avLst/>
          </a:prstGeom>
        </p:spPr>
        <p:txBody>
          <a:bodyPr/>
          <a:lstStyle>
            <a:lvl1pPr rtl="0" eaLnBrk="1" fontAlgn="auto" hangingPunct="1">
              <a:spcBef>
                <a:spcPts val="0"/>
              </a:spcBef>
              <a:spcAft>
                <a:spcPts val="0"/>
              </a:spcAft>
              <a:defRPr>
                <a:latin typeface="+mn-lt"/>
                <a:cs typeface="+mn-cs"/>
              </a:defRPr>
            </a:lvl1pPr>
          </a:lstStyle>
          <a:p>
            <a:pPr>
              <a:defRPr/>
            </a:pPr>
            <a:endParaRPr lang="en-US" dirty="0"/>
          </a:p>
        </p:txBody>
      </p:sp>
      <p:sp>
        <p:nvSpPr>
          <p:cNvPr id="4" name="Rectangle 5"/>
          <p:cNvSpPr>
            <a:spLocks noGrp="1" noChangeArrowheads="1"/>
          </p:cNvSpPr>
          <p:nvPr>
            <p:ph type="ftr" sz="quarter" idx="11"/>
          </p:nvPr>
        </p:nvSpPr>
        <p:spPr>
          <a:xfrm>
            <a:off x="4165600" y="6336803"/>
            <a:ext cx="3860800" cy="457200"/>
          </a:xfrm>
          <a:prstGeom prst="rect">
            <a:avLst/>
          </a:prstGeom>
        </p:spPr>
        <p:txBody>
          <a:bodyPr/>
          <a:lstStyle>
            <a:lvl1pPr rtl="0" eaLnBrk="1" fontAlgn="auto" hangingPunct="1">
              <a:spcBef>
                <a:spcPts val="0"/>
              </a:spcBef>
              <a:spcAft>
                <a:spcPts val="0"/>
              </a:spcAft>
              <a:defRPr>
                <a:latin typeface="+mn-lt"/>
                <a:cs typeface="+mn-cs"/>
              </a:defRPr>
            </a:lvl1pPr>
          </a:lstStyle>
          <a:p>
            <a:pPr>
              <a:defRPr/>
            </a:pPr>
            <a:endParaRPr lang="en-US" dirty="0"/>
          </a:p>
        </p:txBody>
      </p:sp>
      <p:sp>
        <p:nvSpPr>
          <p:cNvPr id="5" name="Rectangle 6"/>
          <p:cNvSpPr>
            <a:spLocks noGrp="1" noChangeArrowheads="1"/>
          </p:cNvSpPr>
          <p:nvPr>
            <p:ph type="sldNum" sz="quarter" idx="12"/>
          </p:nvPr>
        </p:nvSpPr>
        <p:spPr>
          <a:xfrm>
            <a:off x="9465733" y="6324939"/>
            <a:ext cx="2540000" cy="457200"/>
          </a:xfrm>
          <a:prstGeom prst="rect">
            <a:avLst/>
          </a:prstGeom>
        </p:spPr>
        <p:txBody>
          <a:bodyPr/>
          <a:lstStyle>
            <a:lvl1pPr rtl="0" eaLnBrk="1" hangingPunct="1">
              <a:defRPr/>
            </a:lvl1pPr>
          </a:lstStyle>
          <a:p>
            <a:pPr>
              <a:defRPr/>
            </a:pPr>
            <a:r>
              <a:rPr lang="en-US" dirty="0"/>
              <a:t>Slide </a:t>
            </a:r>
            <a:fld id="{4C8B49B7-F61D-43A6-A3F6-9800D4473B2C}" type="slidenum">
              <a:rPr lang="en-US" smtClean="0"/>
              <a:pPr>
                <a:defRPr/>
              </a:pPr>
              <a:t>‹#›</a:t>
            </a:fld>
            <a:r>
              <a:rPr lang="en-US" dirty="0"/>
              <a:t> of 42</a:t>
            </a:r>
          </a:p>
        </p:txBody>
      </p:sp>
    </p:spTree>
    <p:extLst>
      <p:ext uri="{BB962C8B-B14F-4D97-AF65-F5344CB8AC3E}">
        <p14:creationId xmlns:p14="http://schemas.microsoft.com/office/powerpoint/2010/main" val="3496538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068CB81-B724-4511-8E0B-04166B3788BA}" type="datetimeFigureOut">
              <a:rPr lang="en-US" smtClean="0"/>
              <a:pPr/>
              <a:t>8/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CBA6A4-4AC1-4AE5-BF17-AC49EE4BA738}" type="slidenum">
              <a:rPr lang="en-US" smtClean="0"/>
              <a:pPr/>
              <a:t>‹#›</a:t>
            </a:fld>
            <a:endParaRPr lang="en-US" dirty="0"/>
          </a:p>
        </p:txBody>
      </p:sp>
    </p:spTree>
    <p:extLst>
      <p:ext uri="{BB962C8B-B14F-4D97-AF65-F5344CB8AC3E}">
        <p14:creationId xmlns:p14="http://schemas.microsoft.com/office/powerpoint/2010/main" val="147639446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43890" y="1447800"/>
            <a:ext cx="10633711"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43890" y="2209800"/>
            <a:ext cx="10633711"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1" descr="005 (00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3157" y="142483"/>
            <a:ext cx="1022485" cy="803905"/>
          </a:xfrm>
          <a:prstGeom prst="rect">
            <a:avLst/>
          </a:prstGeom>
          <a:noFill/>
        </p:spPr>
      </p:pic>
      <p:sp>
        <p:nvSpPr>
          <p:cNvPr id="15" name="Rectangle 8"/>
          <p:cNvSpPr>
            <a:spLocks noChangeArrowheads="1"/>
          </p:cNvSpPr>
          <p:nvPr userDrawn="1"/>
        </p:nvSpPr>
        <p:spPr bwMode="auto">
          <a:xfrm>
            <a:off x="0" y="1073059"/>
            <a:ext cx="12192000" cy="90663"/>
          </a:xfrm>
          <a:prstGeom prst="rect">
            <a:avLst/>
          </a:prstGeom>
          <a:solidFill>
            <a:srgbClr val="006633"/>
          </a:solidFill>
          <a:ln w="9525">
            <a:noFill/>
            <a:miter lim="800000"/>
            <a:headEnd/>
            <a:tailEnd/>
          </a:ln>
        </p:spPr>
        <p:txBody>
          <a:bodyPr wrap="none" anchor="ctr"/>
          <a:lstStyle/>
          <a:p>
            <a:pPr defTabSz="914400" eaLnBrk="0" hangingPunct="0">
              <a:defRPr/>
            </a:pPr>
            <a:endParaRPr lang="en-US" sz="2800">
              <a:solidFill>
                <a:srgbClr val="000000"/>
              </a:solidFill>
            </a:endParaRPr>
          </a:p>
        </p:txBody>
      </p:sp>
      <p:sp>
        <p:nvSpPr>
          <p:cNvPr id="16" name="Rectangle 9"/>
          <p:cNvSpPr>
            <a:spLocks noChangeArrowheads="1"/>
          </p:cNvSpPr>
          <p:nvPr userDrawn="1"/>
        </p:nvSpPr>
        <p:spPr bwMode="auto">
          <a:xfrm>
            <a:off x="0" y="1163722"/>
            <a:ext cx="203200" cy="5694279"/>
          </a:xfrm>
          <a:prstGeom prst="rect">
            <a:avLst/>
          </a:prstGeom>
          <a:solidFill>
            <a:srgbClr val="0070C0"/>
          </a:solidFill>
          <a:ln w="9525">
            <a:noFill/>
            <a:miter lim="800000"/>
            <a:headEnd/>
            <a:tailEnd/>
          </a:ln>
        </p:spPr>
        <p:txBody>
          <a:bodyPr wrap="none" anchor="ctr"/>
          <a:lstStyle/>
          <a:p>
            <a:pPr defTabSz="914400" eaLnBrk="0" hangingPunct="0">
              <a:defRPr/>
            </a:pPr>
            <a:endParaRPr lang="en-US" sz="2800">
              <a:solidFill>
                <a:srgbClr val="000000"/>
              </a:solidFill>
            </a:endParaRPr>
          </a:p>
        </p:txBody>
      </p:sp>
      <p:sp>
        <p:nvSpPr>
          <p:cNvPr id="9" name="Rectangle 4"/>
          <p:cNvSpPr>
            <a:spLocks noGrp="1" noChangeArrowheads="1"/>
          </p:cNvSpPr>
          <p:nvPr>
            <p:ph type="dt" sz="half" idx="2"/>
          </p:nvPr>
        </p:nvSpPr>
        <p:spPr>
          <a:xfrm>
            <a:off x="914400" y="6337639"/>
            <a:ext cx="2540000" cy="457200"/>
          </a:xfrm>
          <a:prstGeom prst="rect">
            <a:avLst/>
          </a:prstGeom>
        </p:spPr>
        <p:txBody>
          <a:bodyPr/>
          <a:lstStyle>
            <a:lvl1pPr rtl="0" eaLnBrk="1" fontAlgn="auto" hangingPunct="1">
              <a:spcBef>
                <a:spcPts val="0"/>
              </a:spcBef>
              <a:spcAft>
                <a:spcPts val="0"/>
              </a:spcAft>
              <a:defRPr>
                <a:latin typeface="+mn-lt"/>
                <a:cs typeface="+mn-cs"/>
              </a:defRPr>
            </a:lvl1pPr>
          </a:lstStyle>
          <a:p>
            <a:pPr>
              <a:defRPr/>
            </a:pPr>
            <a:endParaRPr lang="en-US" dirty="0"/>
          </a:p>
        </p:txBody>
      </p:sp>
      <p:sp>
        <p:nvSpPr>
          <p:cNvPr id="13" name="Rectangle 5"/>
          <p:cNvSpPr>
            <a:spLocks noGrp="1" noChangeArrowheads="1"/>
          </p:cNvSpPr>
          <p:nvPr>
            <p:ph type="ftr" sz="quarter" idx="3"/>
          </p:nvPr>
        </p:nvSpPr>
        <p:spPr>
          <a:xfrm>
            <a:off x="4165600" y="6349503"/>
            <a:ext cx="3860800" cy="457200"/>
          </a:xfrm>
          <a:prstGeom prst="rect">
            <a:avLst/>
          </a:prstGeom>
        </p:spPr>
        <p:txBody>
          <a:bodyPr/>
          <a:lstStyle>
            <a:lvl1pPr rtl="0" eaLnBrk="1" fontAlgn="auto" hangingPunct="1">
              <a:spcBef>
                <a:spcPts val="0"/>
              </a:spcBef>
              <a:spcAft>
                <a:spcPts val="0"/>
              </a:spcAft>
              <a:defRPr>
                <a:latin typeface="+mn-lt"/>
                <a:cs typeface="+mn-cs"/>
              </a:defRPr>
            </a:lvl1pPr>
          </a:lstStyle>
          <a:p>
            <a:pPr>
              <a:defRPr/>
            </a:pPr>
            <a:endParaRPr lang="en-US" dirty="0"/>
          </a:p>
        </p:txBody>
      </p:sp>
      <p:sp>
        <p:nvSpPr>
          <p:cNvPr id="14" name="Rectangle 6"/>
          <p:cNvSpPr>
            <a:spLocks noGrp="1" noChangeArrowheads="1"/>
          </p:cNvSpPr>
          <p:nvPr>
            <p:ph type="sldNum" sz="quarter" idx="4"/>
          </p:nvPr>
        </p:nvSpPr>
        <p:spPr>
          <a:xfrm>
            <a:off x="8737600" y="6337639"/>
            <a:ext cx="2540000" cy="457200"/>
          </a:xfrm>
          <a:prstGeom prst="rect">
            <a:avLst/>
          </a:prstGeom>
        </p:spPr>
        <p:txBody>
          <a:bodyPr/>
          <a:lstStyle>
            <a:lvl1pPr rtl="0" eaLnBrk="1" hangingPunct="1">
              <a:defRPr/>
            </a:lvl1pPr>
          </a:lstStyle>
          <a:p>
            <a:pPr>
              <a:defRPr/>
            </a:pPr>
            <a:r>
              <a:rPr lang="en-US" dirty="0"/>
              <a:t>Slide </a:t>
            </a:r>
            <a:fld id="{4C8B49B7-F61D-43A6-A3F6-9800D4473B2C}" type="slidenum">
              <a:rPr lang="en-US" smtClean="0"/>
              <a:pPr>
                <a:defRPr/>
              </a:pPr>
              <a:t>‹#›</a:t>
            </a:fld>
            <a:r>
              <a:rPr lang="en-US" dirty="0"/>
              <a:t> of 42</a:t>
            </a:r>
          </a:p>
        </p:txBody>
      </p:sp>
      <p:sp>
        <p:nvSpPr>
          <p:cNvPr id="17" name="Rectangle 2"/>
          <p:cNvSpPr txBox="1">
            <a:spLocks noChangeArrowheads="1"/>
          </p:cNvSpPr>
          <p:nvPr userDrawn="1"/>
        </p:nvSpPr>
        <p:spPr bwMode="auto">
          <a:xfrm>
            <a:off x="2773596" y="362137"/>
            <a:ext cx="6644807"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ＭＳ Ｐゴシック" charset="0"/>
                <a:cs typeface="ＭＳ Ｐゴシック" charset="0"/>
              </a:defRPr>
            </a:lvl1pPr>
            <a:lvl2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pPr algn="ctr" defTabSz="914400"/>
            <a:r>
              <a:rPr lang="en-US" sz="2800" kern="0" dirty="0"/>
              <a:t>GLLSP</a:t>
            </a:r>
            <a:r>
              <a:rPr lang="en-US" sz="2400" kern="0" baseline="0" dirty="0"/>
              <a:t> </a:t>
            </a:r>
            <a:endParaRPr lang="en-US" sz="2400" kern="0" dirty="0"/>
          </a:p>
        </p:txBody>
      </p:sp>
      <p:pic>
        <p:nvPicPr>
          <p:cNvPr id="12" name="Picture 11">
            <a:extLst>
              <a:ext uri="{FF2B5EF4-FFF2-40B4-BE49-F238E27FC236}">
                <a16:creationId xmlns:a16="http://schemas.microsoft.com/office/drawing/2014/main" id="{407A5329-DC4D-4687-B612-8A578EE05085}"/>
              </a:ext>
            </a:extLst>
          </p:cNvPr>
          <p:cNvPicPr>
            <a:picLocks noChangeAspect="1"/>
          </p:cNvPicPr>
          <p:nvPr userDrawn="1"/>
        </p:nvPicPr>
        <p:blipFill>
          <a:blip r:embed="rId7"/>
          <a:stretch>
            <a:fillRect/>
          </a:stretch>
        </p:blipFill>
        <p:spPr>
          <a:xfrm>
            <a:off x="10340502" y="89588"/>
            <a:ext cx="1682156" cy="856799"/>
          </a:xfrm>
          <a:prstGeom prst="rect">
            <a:avLst/>
          </a:prstGeom>
        </p:spPr>
      </p:pic>
    </p:spTree>
  </p:cSld>
  <p:clrMap bg1="lt1" tx1="dk1" bg2="lt2" tx2="dk2" accent1="accent1" accent2="accent2" accent3="accent3" accent4="accent4" accent5="accent5" accent6="accent6" hlink="hlink" folHlink="folHlink"/>
  <p:sldLayoutIdLst>
    <p:sldLayoutId id="2147484585" r:id="rId1"/>
    <p:sldLayoutId id="2147484586" r:id="rId2"/>
    <p:sldLayoutId id="2147484604" r:id="rId3"/>
    <p:sldLayoutId id="2147484605" r:id="rId4"/>
  </p:sldLayoutIdLst>
  <p:hf hdr="0" ftr="0" dt="0"/>
  <p:txStyles>
    <p:titleStyle>
      <a:lvl1pPr algn="l" rtl="0" eaLnBrk="0" fontAlgn="base" hangingPunct="0">
        <a:spcBef>
          <a:spcPct val="0"/>
        </a:spcBef>
        <a:spcAft>
          <a:spcPct val="0"/>
        </a:spcAft>
        <a:defRPr sz="2400" b="1">
          <a:solidFill>
            <a:schemeClr val="tx2"/>
          </a:solidFill>
          <a:latin typeface="+mj-lt"/>
          <a:ea typeface="ＭＳ Ｐゴシック" charset="0"/>
          <a:cs typeface="ＭＳ Ｐゴシック" charset="0"/>
        </a:defRPr>
      </a:lvl1pPr>
      <a:lvl2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2"/>
          </a:solidFill>
          <a:latin typeface="Arial" charset="0"/>
          <a:ea typeface="ＭＳ Ｐゴシック" charset="0"/>
          <a:cs typeface="ＭＳ Ｐゴシック"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000">
          <a:solidFill>
            <a:schemeClr val="tx1"/>
          </a:solidFill>
          <a:latin typeface="+mn-lt"/>
          <a:ea typeface="ＭＳ Ｐゴシック" charset="0"/>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0"/>
        </a:defRPr>
      </a:lvl3pPr>
      <a:lvl4pPr marL="1600200" indent="-228600" algn="l" rtl="0" eaLnBrk="0" fontAlgn="base" hangingPunct="0">
        <a:spcBef>
          <a:spcPct val="20000"/>
        </a:spcBef>
        <a:spcAft>
          <a:spcPct val="0"/>
        </a:spcAft>
        <a:buChar char="–"/>
        <a:defRPr sz="1600">
          <a:solidFill>
            <a:schemeClr val="tx1"/>
          </a:solidFill>
          <a:latin typeface="+mn-lt"/>
          <a:ea typeface="ＭＳ Ｐゴシック" charset="0"/>
        </a:defRPr>
      </a:lvl4pPr>
      <a:lvl5pPr marL="2057400" indent="-228600" algn="l" rtl="0" eaLnBrk="0" fontAlgn="base" hangingPunct="0">
        <a:spcBef>
          <a:spcPct val="20000"/>
        </a:spcBef>
        <a:spcAft>
          <a:spcPct val="0"/>
        </a:spcAft>
        <a:buChar char="»"/>
        <a:defRPr sz="1600">
          <a:solidFill>
            <a:schemeClr val="tx1"/>
          </a:solidFill>
          <a:latin typeface="+mn-lt"/>
          <a:ea typeface="ＭＳ Ｐゴシック" charset="0"/>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webp"/><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B1F477A-0DFF-499D-A93A-D46C619566C4}"/>
              </a:ext>
            </a:extLst>
          </p:cNvPr>
          <p:cNvSpPr>
            <a:spLocks noGrp="1"/>
          </p:cNvSpPr>
          <p:nvPr>
            <p:ph type="subTitle" idx="1"/>
          </p:nvPr>
        </p:nvSpPr>
        <p:spPr/>
        <p:txBody>
          <a:bodyPr/>
          <a:lstStyle/>
          <a:p>
            <a:endParaRPr lang="en-US"/>
          </a:p>
        </p:txBody>
      </p:sp>
      <p:sp>
        <p:nvSpPr>
          <p:cNvPr id="6" name="Rectangle 5">
            <a:extLst>
              <a:ext uri="{FF2B5EF4-FFF2-40B4-BE49-F238E27FC236}">
                <a16:creationId xmlns:a16="http://schemas.microsoft.com/office/drawing/2014/main" id="{99E077E4-38A4-4335-9693-35945C5EB00F}"/>
              </a:ext>
            </a:extLst>
          </p:cNvPr>
          <p:cNvSpPr/>
          <p:nvPr/>
        </p:nvSpPr>
        <p:spPr bwMode="auto">
          <a:xfrm>
            <a:off x="204534" y="3188368"/>
            <a:ext cx="11903242" cy="25547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pic>
        <p:nvPicPr>
          <p:cNvPr id="5" name="Picture 4">
            <a:extLst>
              <a:ext uri="{FF2B5EF4-FFF2-40B4-BE49-F238E27FC236}">
                <a16:creationId xmlns:a16="http://schemas.microsoft.com/office/drawing/2014/main" id="{FF1AE8D3-D1E3-453D-A80F-6C0C241F4F9D}"/>
              </a:ext>
            </a:extLst>
          </p:cNvPr>
          <p:cNvPicPr>
            <a:picLocks noChangeAspect="1"/>
          </p:cNvPicPr>
          <p:nvPr/>
        </p:nvPicPr>
        <p:blipFill>
          <a:blip r:embed="rId2"/>
          <a:stretch>
            <a:fillRect/>
          </a:stretch>
        </p:blipFill>
        <p:spPr>
          <a:xfrm>
            <a:off x="1227223" y="3188368"/>
            <a:ext cx="10218824" cy="2554706"/>
          </a:xfrm>
          <a:prstGeom prst="rect">
            <a:avLst/>
          </a:prstGeom>
        </p:spPr>
      </p:pic>
    </p:spTree>
    <p:extLst>
      <p:ext uri="{BB962C8B-B14F-4D97-AF65-F5344CB8AC3E}">
        <p14:creationId xmlns:p14="http://schemas.microsoft.com/office/powerpoint/2010/main" val="6997217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9C417-694E-4C6A-93E5-29DA3B3C58CB}"/>
              </a:ext>
            </a:extLst>
          </p:cNvPr>
          <p:cNvSpPr>
            <a:spLocks noGrp="1"/>
          </p:cNvSpPr>
          <p:nvPr>
            <p:ph type="title"/>
          </p:nvPr>
        </p:nvSpPr>
        <p:spPr/>
        <p:txBody>
          <a:bodyPr/>
          <a:lstStyle/>
          <a:p>
            <a:r>
              <a:rPr lang="en-US" dirty="0"/>
              <a:t>Components</a:t>
            </a:r>
            <a:br>
              <a:rPr lang="en-US" dirty="0"/>
            </a:br>
            <a:endParaRPr lang="en-US" dirty="0"/>
          </a:p>
        </p:txBody>
      </p:sp>
      <p:graphicFrame>
        <p:nvGraphicFramePr>
          <p:cNvPr id="5" name="Content Placeholder 4">
            <a:extLst>
              <a:ext uri="{FF2B5EF4-FFF2-40B4-BE49-F238E27FC236}">
                <a16:creationId xmlns:a16="http://schemas.microsoft.com/office/drawing/2014/main" id="{16279AD5-5DEA-41AE-8737-423BE93CB606}"/>
              </a:ext>
            </a:extLst>
          </p:cNvPr>
          <p:cNvGraphicFramePr>
            <a:graphicFrameLocks noGrp="1"/>
          </p:cNvGraphicFramePr>
          <p:nvPr>
            <p:ph idx="1"/>
            <p:extLst>
              <p:ext uri="{D42A27DB-BD31-4B8C-83A1-F6EECF244321}">
                <p14:modId xmlns:p14="http://schemas.microsoft.com/office/powerpoint/2010/main" val="3188139718"/>
              </p:ext>
            </p:extLst>
          </p:nvPr>
        </p:nvGraphicFramePr>
        <p:xfrm>
          <a:off x="618297" y="1257801"/>
          <a:ext cx="10975975" cy="52994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14737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5C177496-5DDD-401E-8F3C-0D771073D773}"/>
              </a:ext>
            </a:extLst>
          </p:cNvPr>
          <p:cNvGraphicFramePr>
            <a:graphicFrameLocks noGrp="1"/>
          </p:cNvGraphicFramePr>
          <p:nvPr>
            <p:ph idx="1"/>
            <p:extLst>
              <p:ext uri="{D42A27DB-BD31-4B8C-83A1-F6EECF244321}">
                <p14:modId xmlns:p14="http://schemas.microsoft.com/office/powerpoint/2010/main" val="1439510635"/>
              </p:ext>
            </p:extLst>
          </p:nvPr>
        </p:nvGraphicFramePr>
        <p:xfrm>
          <a:off x="608012" y="1531863"/>
          <a:ext cx="10975975" cy="518828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99491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0911" y="1646370"/>
            <a:ext cx="10976755" cy="609600"/>
          </a:xfrm>
        </p:spPr>
        <p:txBody>
          <a:bodyPr/>
          <a:lstStyle/>
          <a:p>
            <a:r>
              <a:rPr lang="en-US" dirty="0"/>
              <a:t>  GLLSP-Phase II Snapshots</a:t>
            </a:r>
          </a:p>
        </p:txBody>
      </p:sp>
      <p:sp>
        <p:nvSpPr>
          <p:cNvPr id="3" name="Content Placeholder 2"/>
          <p:cNvSpPr>
            <a:spLocks noGrp="1"/>
          </p:cNvSpPr>
          <p:nvPr>
            <p:ph idx="1"/>
          </p:nvPr>
        </p:nvSpPr>
        <p:spPr>
          <a:xfrm>
            <a:off x="1698978" y="2255970"/>
            <a:ext cx="8238841" cy="4164927"/>
          </a:xfrm>
        </p:spPr>
        <p:txBody>
          <a:bodyPr/>
          <a:lstStyle/>
          <a:p>
            <a:pPr marL="0" indent="0">
              <a:buNone/>
            </a:pPr>
            <a:r>
              <a:rPr lang="en-US" b="1" dirty="0">
                <a:solidFill>
                  <a:schemeClr val="tx2"/>
                </a:solidFill>
              </a:rPr>
              <a:t>Duration: 				</a:t>
            </a:r>
            <a:r>
              <a:rPr lang="en-US" dirty="0">
                <a:solidFill>
                  <a:schemeClr val="tx2"/>
                </a:solidFill>
              </a:rPr>
              <a:t>2021-26 (6 Yrs)</a:t>
            </a:r>
          </a:p>
          <a:p>
            <a:pPr marL="0" indent="0">
              <a:buNone/>
            </a:pPr>
            <a:r>
              <a:rPr lang="en-US" b="1" dirty="0">
                <a:solidFill>
                  <a:schemeClr val="tx2"/>
                </a:solidFill>
              </a:rPr>
              <a:t>Outreach:</a:t>
            </a:r>
            <a:r>
              <a:rPr lang="en-US" dirty="0">
                <a:solidFill>
                  <a:schemeClr val="tx2"/>
                </a:solidFill>
              </a:rPr>
              <a:t>				100,000 Households</a:t>
            </a:r>
          </a:p>
          <a:p>
            <a:pPr marL="0" indent="0">
              <a:buNone/>
            </a:pPr>
            <a:r>
              <a:rPr lang="en-US" b="1" dirty="0">
                <a:solidFill>
                  <a:schemeClr val="tx2"/>
                </a:solidFill>
              </a:rPr>
              <a:t>U/C Development Plans:		</a:t>
            </a:r>
            <a:r>
              <a:rPr lang="en-US" dirty="0">
                <a:solidFill>
                  <a:schemeClr val="tx2"/>
                </a:solidFill>
              </a:rPr>
              <a:t>45 UCs</a:t>
            </a:r>
          </a:p>
          <a:p>
            <a:pPr marL="0" indent="0">
              <a:buNone/>
            </a:pPr>
            <a:r>
              <a:rPr lang="en-US" b="1" dirty="0">
                <a:solidFill>
                  <a:schemeClr val="tx2"/>
                </a:solidFill>
              </a:rPr>
              <a:t>Economic graduation:		</a:t>
            </a:r>
            <a:r>
              <a:rPr lang="en-US" dirty="0">
                <a:solidFill>
                  <a:schemeClr val="tx2"/>
                </a:solidFill>
              </a:rPr>
              <a:t>43,500 households</a:t>
            </a:r>
          </a:p>
          <a:p>
            <a:pPr marL="0" indent="0">
              <a:buNone/>
            </a:pPr>
            <a:r>
              <a:rPr lang="en-US" b="1" dirty="0">
                <a:solidFill>
                  <a:schemeClr val="tx2"/>
                </a:solidFill>
              </a:rPr>
              <a:t>Market access roads:</a:t>
            </a:r>
            <a:r>
              <a:rPr lang="en-US" dirty="0">
                <a:solidFill>
                  <a:schemeClr val="tx2"/>
                </a:solidFill>
              </a:rPr>
              <a:t>		120 km</a:t>
            </a:r>
          </a:p>
          <a:p>
            <a:pPr marL="0" indent="0">
              <a:buNone/>
            </a:pPr>
            <a:r>
              <a:rPr lang="en-US" b="1" dirty="0">
                <a:solidFill>
                  <a:schemeClr val="tx2"/>
                </a:solidFill>
              </a:rPr>
              <a:t>Fishermen Beneficiaries:</a:t>
            </a:r>
            <a:r>
              <a:rPr lang="en-US" dirty="0">
                <a:solidFill>
                  <a:schemeClr val="tx2"/>
                </a:solidFill>
              </a:rPr>
              <a:t>		46,000</a:t>
            </a:r>
          </a:p>
          <a:p>
            <a:pPr marL="0" indent="0">
              <a:buNone/>
            </a:pPr>
            <a:r>
              <a:rPr lang="en-US" b="1" dirty="0">
                <a:solidFill>
                  <a:schemeClr val="tx2"/>
                </a:solidFill>
              </a:rPr>
              <a:t>Jetties &amp; Allied Infrastructure*</a:t>
            </a:r>
            <a:r>
              <a:rPr lang="en-US" dirty="0">
                <a:solidFill>
                  <a:schemeClr val="tx2"/>
                </a:solidFill>
              </a:rPr>
              <a:t>:	3 Units</a:t>
            </a:r>
          </a:p>
          <a:p>
            <a:pPr marL="0" indent="0">
              <a:buNone/>
            </a:pPr>
            <a:r>
              <a:rPr lang="en-US" b="1" dirty="0">
                <a:solidFill>
                  <a:schemeClr val="tx2"/>
                </a:solidFill>
              </a:rPr>
              <a:t>Landing Sites:</a:t>
            </a:r>
            <a:r>
              <a:rPr lang="en-US" dirty="0">
                <a:solidFill>
                  <a:schemeClr val="tx2"/>
                </a:solidFill>
              </a:rPr>
              <a:t>			40 Units</a:t>
            </a:r>
          </a:p>
        </p:txBody>
      </p:sp>
    </p:spTree>
    <p:extLst>
      <p:ext uri="{BB962C8B-B14F-4D97-AF65-F5344CB8AC3E}">
        <p14:creationId xmlns:p14="http://schemas.microsoft.com/office/powerpoint/2010/main" val="959692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2" descr="SmartArt timeline">
            <a:extLst>
              <a:ext uri="{FF2B5EF4-FFF2-40B4-BE49-F238E27FC236}">
                <a16:creationId xmlns:a16="http://schemas.microsoft.com/office/drawing/2014/main" id="{75CF3DF9-E991-497F-8EBB-599C0DE6970E}"/>
              </a:ext>
            </a:extLst>
          </p:cNvPr>
          <p:cNvGraphicFramePr>
            <a:graphicFrameLocks/>
          </p:cNvGraphicFramePr>
          <p:nvPr>
            <p:extLst>
              <p:ext uri="{D42A27DB-BD31-4B8C-83A1-F6EECF244321}">
                <p14:modId xmlns:p14="http://schemas.microsoft.com/office/powerpoint/2010/main" val="4267895508"/>
              </p:ext>
            </p:extLst>
          </p:nvPr>
        </p:nvGraphicFramePr>
        <p:xfrm>
          <a:off x="276726" y="922889"/>
          <a:ext cx="11626517" cy="6250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CA5E4E4-953F-4143-AFCB-CBD8DC1D94EA}"/>
              </a:ext>
            </a:extLst>
          </p:cNvPr>
          <p:cNvSpPr txBox="1"/>
          <p:nvPr/>
        </p:nvSpPr>
        <p:spPr>
          <a:xfrm>
            <a:off x="441157" y="661279"/>
            <a:ext cx="10561460" cy="523220"/>
          </a:xfrm>
          <a:prstGeom prst="rect">
            <a:avLst/>
          </a:prstGeom>
          <a:noFill/>
        </p:spPr>
        <p:txBody>
          <a:bodyPr wrap="square" rtlCol="0">
            <a:spAutoFit/>
          </a:bodyPr>
          <a:lstStyle/>
          <a:p>
            <a:r>
              <a:rPr lang="en-US" sz="2800" b="1" dirty="0"/>
              <a:t>SUSTAINABILITY FOR THE PROGRAMME INTERVENTIONS</a:t>
            </a:r>
          </a:p>
        </p:txBody>
      </p:sp>
      <p:sp>
        <p:nvSpPr>
          <p:cNvPr id="9" name="Rectangle 8">
            <a:extLst>
              <a:ext uri="{FF2B5EF4-FFF2-40B4-BE49-F238E27FC236}">
                <a16:creationId xmlns:a16="http://schemas.microsoft.com/office/drawing/2014/main" id="{B872CE63-6782-4380-A7E5-1FAA74F5298D}"/>
              </a:ext>
            </a:extLst>
          </p:cNvPr>
          <p:cNvSpPr/>
          <p:nvPr/>
        </p:nvSpPr>
        <p:spPr>
          <a:xfrm>
            <a:off x="441157" y="1267918"/>
            <a:ext cx="11309685" cy="1082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AB72A2B9-AACD-48A0-84D8-068D6676EC3C}"/>
              </a:ext>
            </a:extLst>
          </p:cNvPr>
          <p:cNvSpPr txBox="1"/>
          <p:nvPr/>
        </p:nvSpPr>
        <p:spPr>
          <a:xfrm>
            <a:off x="914400" y="1958009"/>
            <a:ext cx="9601200" cy="2862322"/>
          </a:xfrm>
          <a:prstGeom prst="rect">
            <a:avLst/>
          </a:prstGeom>
          <a:noFill/>
        </p:spPr>
        <p:txBody>
          <a:bodyPr wrap="square" rtlCol="0">
            <a:spAutoFit/>
          </a:bodyPr>
          <a:lstStyle/>
          <a:p>
            <a:pPr marL="285750" indent="-285750">
              <a:buFont typeface="Arial" panose="020B0604020202020204" pitchFamily="34" charset="0"/>
              <a:buChar char="•"/>
            </a:pPr>
            <a:r>
              <a:rPr lang="en-US" sz="3200" dirty="0"/>
              <a:t>Three Tier CO/VO/LSO Structure</a:t>
            </a:r>
          </a:p>
          <a:p>
            <a:pPr marL="285750" indent="-285750">
              <a:buFont typeface="Arial" panose="020B0604020202020204" pitchFamily="34" charset="0"/>
              <a:buChar char="•"/>
            </a:pPr>
            <a:r>
              <a:rPr lang="en-US" sz="3200" dirty="0"/>
              <a:t>Poverty Graduation</a:t>
            </a:r>
          </a:p>
          <a:p>
            <a:pPr marL="285750" indent="-285750">
              <a:buFont typeface="Arial" panose="020B0604020202020204" pitchFamily="34" charset="0"/>
              <a:buChar char="•"/>
            </a:pPr>
            <a:r>
              <a:rPr lang="en-US" sz="3200" dirty="0"/>
              <a:t>Community Led (CPI’s)</a:t>
            </a:r>
          </a:p>
          <a:p>
            <a:pPr marL="285750" indent="-285750">
              <a:buFont typeface="Arial" panose="020B0604020202020204" pitchFamily="34" charset="0"/>
              <a:buChar char="•"/>
            </a:pPr>
            <a:r>
              <a:rPr lang="en-US" sz="3200" dirty="0"/>
              <a:t>Fisheries Value Chain and Infrastructure</a:t>
            </a:r>
          </a:p>
          <a:p>
            <a:pPr marL="285750" indent="-285750">
              <a:buFont typeface="Arial" panose="020B0604020202020204" pitchFamily="34" charset="0"/>
              <a:buChar char="•"/>
            </a:pPr>
            <a:r>
              <a:rPr lang="en-US" sz="3200" dirty="0"/>
              <a:t>Rural Roads: </a:t>
            </a:r>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488843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C90D1105-D57D-459E-877B-18D34F5A2293}"/>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FC3D7E21-9CA1-499B-BF20-57482F564509}"/>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6B21E412-B2BE-41B7-A82C-BCC892B0DDF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5AC7AD6D-FFC7-406A-87A7-C083E6A2E93C}"/>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animEffect transition="in" filter="wipe(down)">
                                      <p:cBhvr>
                                        <p:cTn id="19" dur="500"/>
                                        <p:tgtEl>
                                          <p:spTgt spid="6">
                                            <p:txEl>
                                              <p:pRg st="0" end="0"/>
                                            </p:txEl>
                                          </p:spTgt>
                                        </p:tgtEl>
                                      </p:cBhvr>
                                    </p:animEffect>
                                  </p:childTnLst>
                                </p:cTn>
                              </p:par>
                              <p:par>
                                <p:cTn id="20" presetID="22" presetClass="entr" presetSubtype="4" fill="hold" nodeType="withEffect">
                                  <p:stCondLst>
                                    <p:cond delay="0"/>
                                  </p:stCondLst>
                                  <p:childTnLst>
                                    <p:set>
                                      <p:cBhvr>
                                        <p:cTn id="21" dur="1" fill="hold">
                                          <p:stCondLst>
                                            <p:cond delay="0"/>
                                          </p:stCondLst>
                                        </p:cTn>
                                        <p:tgtEl>
                                          <p:spTgt spid="6">
                                            <p:txEl>
                                              <p:pRg st="1" end="1"/>
                                            </p:txEl>
                                          </p:spTgt>
                                        </p:tgtEl>
                                        <p:attrNameLst>
                                          <p:attrName>style.visibility</p:attrName>
                                        </p:attrNameLst>
                                      </p:cBhvr>
                                      <p:to>
                                        <p:strVal val="visible"/>
                                      </p:to>
                                    </p:set>
                                    <p:animEffect transition="in" filter="wipe(down)">
                                      <p:cBhvr>
                                        <p:cTn id="22" dur="500"/>
                                        <p:tgtEl>
                                          <p:spTgt spid="6">
                                            <p:txEl>
                                              <p:pRg st="1" end="1"/>
                                            </p:txEl>
                                          </p:spTgt>
                                        </p:tgtEl>
                                      </p:cBhvr>
                                    </p:animEffect>
                                  </p:childTnLst>
                                </p:cTn>
                              </p:par>
                              <p:par>
                                <p:cTn id="23" presetID="22" presetClass="entr" presetSubtype="4" fill="hold" nodeType="withEffect">
                                  <p:stCondLst>
                                    <p:cond delay="0"/>
                                  </p:stCondLst>
                                  <p:childTnLst>
                                    <p:set>
                                      <p:cBhvr>
                                        <p:cTn id="24" dur="1" fill="hold">
                                          <p:stCondLst>
                                            <p:cond delay="0"/>
                                          </p:stCondLst>
                                        </p:cTn>
                                        <p:tgtEl>
                                          <p:spTgt spid="6">
                                            <p:txEl>
                                              <p:pRg st="2" end="2"/>
                                            </p:txEl>
                                          </p:spTgt>
                                        </p:tgtEl>
                                        <p:attrNameLst>
                                          <p:attrName>style.visibility</p:attrName>
                                        </p:attrNameLst>
                                      </p:cBhvr>
                                      <p:to>
                                        <p:strVal val="visible"/>
                                      </p:to>
                                    </p:set>
                                    <p:animEffect transition="in" filter="wipe(down)">
                                      <p:cBhvr>
                                        <p:cTn id="25" dur="500"/>
                                        <p:tgtEl>
                                          <p:spTgt spid="6">
                                            <p:txEl>
                                              <p:pRg st="2" end="2"/>
                                            </p:txEl>
                                          </p:spTgt>
                                        </p:tgtEl>
                                      </p:cBhvr>
                                    </p:animEffect>
                                  </p:childTnLst>
                                </p:cTn>
                              </p:par>
                              <p:par>
                                <p:cTn id="26" presetID="1" presetClass="entr" presetSubtype="0" fill="hold" nodeType="withEffect">
                                  <p:stCondLst>
                                    <p:cond delay="0"/>
                                  </p:stCondLst>
                                  <p:childTnLst>
                                    <p:set>
                                      <p:cBhvr>
                                        <p:cTn id="27" dur="1" fill="hold">
                                          <p:stCondLst>
                                            <p:cond delay="0"/>
                                          </p:stCondLst>
                                        </p:cTn>
                                        <p:tgtEl>
                                          <p:spTgt spid="6">
                                            <p:txEl>
                                              <p:pRg st="3" end="3"/>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6">
                                            <p:txEl>
                                              <p:pRg st="4" end="4"/>
                                            </p:txEl>
                                          </p:spTgt>
                                        </p:tgtEl>
                                        <p:attrNameLst>
                                          <p:attrName>style.visibility</p:attrName>
                                        </p:attrNameLst>
                                      </p:cBhvr>
                                      <p:to>
                                        <p:strVal val="visible"/>
                                      </p:to>
                                    </p:set>
                                  </p:childTnLst>
                                </p:cTn>
                              </p:par>
                              <p:par>
                                <p:cTn id="30" presetID="10" presetClass="entr" presetSubtype="0" fill="hold" nodeType="withEffect">
                                  <p:stCondLst>
                                    <p:cond delay="0"/>
                                  </p:stCondLst>
                                  <p:childTnLst>
                                    <p:set>
                                      <p:cBhvr>
                                        <p:cTn id="31" dur="1" fill="hold">
                                          <p:stCondLst>
                                            <p:cond delay="0"/>
                                          </p:stCondLst>
                                        </p:cTn>
                                        <p:tgtEl>
                                          <p:spTgt spid="6">
                                            <p:txEl>
                                              <p:pRg st="3" end="3"/>
                                            </p:txEl>
                                          </p:spTgt>
                                        </p:tgtEl>
                                        <p:attrNameLst>
                                          <p:attrName>style.visibility</p:attrName>
                                        </p:attrNameLst>
                                      </p:cBhvr>
                                      <p:to>
                                        <p:strVal val="visible"/>
                                      </p:to>
                                    </p:set>
                                    <p:animEffect transition="in" filter="fade">
                                      <p:cBhvr>
                                        <p:cTn id="32" dur="500"/>
                                        <p:tgtEl>
                                          <p:spTgt spid="6">
                                            <p:txEl>
                                              <p:pRg st="3" end="3"/>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Effect transition="in" filter="fade">
                                      <p:cBhvr>
                                        <p:cTn id="35"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2" descr="SmartArt timeline">
            <a:extLst>
              <a:ext uri="{FF2B5EF4-FFF2-40B4-BE49-F238E27FC236}">
                <a16:creationId xmlns:a16="http://schemas.microsoft.com/office/drawing/2014/main" id="{75CF3DF9-E991-497F-8EBB-599C0DE6970E}"/>
              </a:ext>
            </a:extLst>
          </p:cNvPr>
          <p:cNvGraphicFramePr>
            <a:graphicFrameLocks/>
          </p:cNvGraphicFramePr>
          <p:nvPr>
            <p:extLst>
              <p:ext uri="{D42A27DB-BD31-4B8C-83A1-F6EECF244321}">
                <p14:modId xmlns:p14="http://schemas.microsoft.com/office/powerpoint/2010/main" val="2463865653"/>
              </p:ext>
            </p:extLst>
          </p:nvPr>
        </p:nvGraphicFramePr>
        <p:xfrm>
          <a:off x="276726" y="942767"/>
          <a:ext cx="11626517" cy="6250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CA5E4E4-953F-4143-AFCB-CBD8DC1D94EA}"/>
              </a:ext>
            </a:extLst>
          </p:cNvPr>
          <p:cNvSpPr txBox="1"/>
          <p:nvPr/>
        </p:nvSpPr>
        <p:spPr>
          <a:xfrm>
            <a:off x="441157" y="661279"/>
            <a:ext cx="6845300" cy="523220"/>
          </a:xfrm>
          <a:prstGeom prst="rect">
            <a:avLst/>
          </a:prstGeom>
          <a:noFill/>
        </p:spPr>
        <p:txBody>
          <a:bodyPr wrap="square" rtlCol="0">
            <a:spAutoFit/>
          </a:bodyPr>
          <a:lstStyle/>
          <a:p>
            <a:r>
              <a:rPr lang="en-US" sz="2800" b="1" dirty="0"/>
              <a:t>Implementation Arrangement</a:t>
            </a:r>
          </a:p>
        </p:txBody>
      </p:sp>
      <p:sp>
        <p:nvSpPr>
          <p:cNvPr id="9" name="Rectangle 8">
            <a:extLst>
              <a:ext uri="{FF2B5EF4-FFF2-40B4-BE49-F238E27FC236}">
                <a16:creationId xmlns:a16="http://schemas.microsoft.com/office/drawing/2014/main" id="{B872CE63-6782-4380-A7E5-1FAA74F5298D}"/>
              </a:ext>
            </a:extLst>
          </p:cNvPr>
          <p:cNvSpPr/>
          <p:nvPr/>
        </p:nvSpPr>
        <p:spPr>
          <a:xfrm>
            <a:off x="441157" y="1267918"/>
            <a:ext cx="11309685" cy="1082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01402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DD1A325B-39E0-401C-8088-588A028688CE}"/>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7102E1E0-B7C3-4F76-9491-A3B3966921CA}"/>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C6A9158A-BBFA-4DED-813A-1F0F318FE29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8105213B-9B2C-4D83-9F1B-EF70780348BA}"/>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DCE1A16B-0636-427A-93E3-BFDA01FFB483}"/>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graphicEl>
                                              <a:dgm id="{FD99470D-5920-467F-A86B-A76835223625}"/>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graphicEl>
                                              <a:dgm id="{C19D86B8-BFD4-44AF-8D55-0D9A10A48DEE}"/>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F685149F-B90F-4BD4-9B54-2DEF8A8A4A6C}"/>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graphicEl>
                                              <a:dgm id="{A1F95EA4-4E4A-4C87-8DEB-7FA5E4909DA9}"/>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graphicEl>
                                              <a:dgm id="{B2EDFE18-4AB4-4852-A119-30B21C8FF5D7}"/>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graphicEl>
                                              <a:dgm id="{2C9A4ABC-9A91-4F53-84B8-87032F6EABB5}"/>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dgm id="{32E39A59-9A6A-4FE0-A09B-A2BBABB99527}"/>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graphicEl>
                                              <a:dgm id="{6898D4C1-54F6-4DA4-9607-F444437C8E6E}"/>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graphicEl>
                                              <a:dgm id="{D73D486C-1D43-4208-9FD9-CC7C2550C1E8}"/>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
                                            <p:graphicEl>
                                              <a:dgm id="{DF71F57E-D542-4163-95B1-92B1B114497F}"/>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
                                            <p:graphicEl>
                                              <a:dgm id="{C0317DA2-D763-4621-9680-990E0F78E293}"/>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
                                            <p:graphicEl>
                                              <a:dgm id="{AD11F15F-2F35-43E9-AAA4-CF4FE6D2B984}"/>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
                                            <p:graphicEl>
                                              <a:dgm id="{E5A47D71-1073-410A-8751-3C252482E604}"/>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
                                            <p:graphicEl>
                                              <a:dgm id="{15806F64-7838-4DAA-A0FA-7BA3B336AE3F}"/>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
                                            <p:graphicEl>
                                              <a:dgm id="{D2BFE868-07FF-48DB-8338-8A7C6ED9998F}"/>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
                                            <p:graphicEl>
                                              <a:dgm id="{152FB453-AA1C-4C6D-86AE-2A7A4BF73B8B}"/>
                                            </p:graphic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
                                            <p:graphicEl>
                                              <a:dgm id="{BC9CEA29-8429-48CF-B30A-81626D4345E2}"/>
                                            </p:graphic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
                                            <p:graphicEl>
                                              <a:dgm id="{C0D22B8F-54BF-4FAE-9F7C-B58FA74468D0}"/>
                                            </p:graphic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
                                            <p:graphicEl>
                                              <a:dgm id="{E1F35975-00CA-4B74-AB7C-CD8812C99AE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E8F54-F099-44E0-9ED8-797F338E2A07}"/>
              </a:ext>
            </a:extLst>
          </p:cNvPr>
          <p:cNvSpPr>
            <a:spLocks noGrp="1"/>
          </p:cNvSpPr>
          <p:nvPr>
            <p:ph type="title"/>
          </p:nvPr>
        </p:nvSpPr>
        <p:spPr/>
        <p:txBody>
          <a:bodyPr/>
          <a:lstStyle/>
          <a:p>
            <a:r>
              <a:rPr lang="en-US" dirty="0"/>
              <a:t>Implementation Arrangement</a:t>
            </a:r>
          </a:p>
        </p:txBody>
      </p:sp>
      <p:graphicFrame>
        <p:nvGraphicFramePr>
          <p:cNvPr id="5" name="Content Placeholder 4">
            <a:extLst>
              <a:ext uri="{FF2B5EF4-FFF2-40B4-BE49-F238E27FC236}">
                <a16:creationId xmlns:a16="http://schemas.microsoft.com/office/drawing/2014/main" id="{4D04569C-3175-40EA-AE6F-534429AD7434}"/>
              </a:ext>
            </a:extLst>
          </p:cNvPr>
          <p:cNvGraphicFramePr>
            <a:graphicFrameLocks noGrp="1"/>
          </p:cNvGraphicFramePr>
          <p:nvPr>
            <p:ph idx="1"/>
            <p:extLst>
              <p:ext uri="{D42A27DB-BD31-4B8C-83A1-F6EECF244321}">
                <p14:modId xmlns:p14="http://schemas.microsoft.com/office/powerpoint/2010/main" val="2401024828"/>
              </p:ext>
            </p:extLst>
          </p:nvPr>
        </p:nvGraphicFramePr>
        <p:xfrm>
          <a:off x="598488" y="2019300"/>
          <a:ext cx="10975975" cy="4203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8129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graphicEl>
                                              <a:dgm id="{8B1D86E7-35E8-4D45-9FB3-BF9438C8F8CF}"/>
                                            </p:graphicEl>
                                          </p:spTgt>
                                        </p:tgtEl>
                                        <p:attrNameLst>
                                          <p:attrName>style.visibility</p:attrName>
                                        </p:attrNameLst>
                                      </p:cBhvr>
                                      <p:to>
                                        <p:strVal val="visible"/>
                                      </p:to>
                                    </p:set>
                                    <p:animEffect transition="in" filter="fade">
                                      <p:cBhvr>
                                        <p:cTn id="7" dur="500"/>
                                        <p:tgtEl>
                                          <p:spTgt spid="5">
                                            <p:graphicEl>
                                              <a:dgm id="{8B1D86E7-35E8-4D45-9FB3-BF9438C8F8C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graphicEl>
                                              <a:dgm id="{44586655-7968-4778-8FD0-4A691FEB4125}"/>
                                            </p:graphicEl>
                                          </p:spTgt>
                                        </p:tgtEl>
                                        <p:attrNameLst>
                                          <p:attrName>style.visibility</p:attrName>
                                        </p:attrNameLst>
                                      </p:cBhvr>
                                      <p:to>
                                        <p:strVal val="visible"/>
                                      </p:to>
                                    </p:set>
                                    <p:animEffect transition="in" filter="fade">
                                      <p:cBhvr>
                                        <p:cTn id="12" dur="500"/>
                                        <p:tgtEl>
                                          <p:spTgt spid="5">
                                            <p:graphicEl>
                                              <a:dgm id="{44586655-7968-4778-8FD0-4A691FEB4125}"/>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graphicEl>
                                              <a:dgm id="{33172C31-9F28-41A4-9CE5-24F3CE416384}"/>
                                            </p:graphicEl>
                                          </p:spTgt>
                                        </p:tgtEl>
                                        <p:attrNameLst>
                                          <p:attrName>style.visibility</p:attrName>
                                        </p:attrNameLst>
                                      </p:cBhvr>
                                      <p:to>
                                        <p:strVal val="visible"/>
                                      </p:to>
                                    </p:set>
                                    <p:animEffect transition="in" filter="fade">
                                      <p:cBhvr>
                                        <p:cTn id="15" dur="500"/>
                                        <p:tgtEl>
                                          <p:spTgt spid="5">
                                            <p:graphicEl>
                                              <a:dgm id="{33172C31-9F28-41A4-9CE5-24F3CE416384}"/>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graphicEl>
                                              <a:dgm id="{97446A88-E6FC-4529-A2AE-885FC72949EE}"/>
                                            </p:graphicEl>
                                          </p:spTgt>
                                        </p:tgtEl>
                                        <p:attrNameLst>
                                          <p:attrName>style.visibility</p:attrName>
                                        </p:attrNameLst>
                                      </p:cBhvr>
                                      <p:to>
                                        <p:strVal val="visible"/>
                                      </p:to>
                                    </p:set>
                                    <p:animEffect transition="in" filter="fade">
                                      <p:cBhvr>
                                        <p:cTn id="20" dur="500"/>
                                        <p:tgtEl>
                                          <p:spTgt spid="5">
                                            <p:graphicEl>
                                              <a:dgm id="{97446A88-E6FC-4529-A2AE-885FC72949EE}"/>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graphicEl>
                                              <a:dgm id="{879678E7-8F31-45F3-A936-E7B8F3BAA675}"/>
                                            </p:graphicEl>
                                          </p:spTgt>
                                        </p:tgtEl>
                                        <p:attrNameLst>
                                          <p:attrName>style.visibility</p:attrName>
                                        </p:attrNameLst>
                                      </p:cBhvr>
                                      <p:to>
                                        <p:strVal val="visible"/>
                                      </p:to>
                                    </p:set>
                                    <p:animEffect transition="in" filter="fade">
                                      <p:cBhvr>
                                        <p:cTn id="23" dur="500"/>
                                        <p:tgtEl>
                                          <p:spTgt spid="5">
                                            <p:graphicEl>
                                              <a:dgm id="{879678E7-8F31-45F3-A936-E7B8F3BAA67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2" descr="SmartArt timeline">
            <a:extLst>
              <a:ext uri="{FF2B5EF4-FFF2-40B4-BE49-F238E27FC236}">
                <a16:creationId xmlns:a16="http://schemas.microsoft.com/office/drawing/2014/main" id="{75CF3DF9-E991-497F-8EBB-599C0DE6970E}"/>
              </a:ext>
            </a:extLst>
          </p:cNvPr>
          <p:cNvGraphicFramePr>
            <a:graphicFrameLocks/>
          </p:cNvGraphicFramePr>
          <p:nvPr>
            <p:extLst>
              <p:ext uri="{D42A27DB-BD31-4B8C-83A1-F6EECF244321}">
                <p14:modId xmlns:p14="http://schemas.microsoft.com/office/powerpoint/2010/main" val="2182356984"/>
              </p:ext>
            </p:extLst>
          </p:nvPr>
        </p:nvGraphicFramePr>
        <p:xfrm>
          <a:off x="276726" y="922889"/>
          <a:ext cx="11626517" cy="6250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CA5E4E4-953F-4143-AFCB-CBD8DC1D94EA}"/>
              </a:ext>
            </a:extLst>
          </p:cNvPr>
          <p:cNvSpPr txBox="1"/>
          <p:nvPr/>
        </p:nvSpPr>
        <p:spPr>
          <a:xfrm>
            <a:off x="441157" y="661279"/>
            <a:ext cx="6845300" cy="523220"/>
          </a:xfrm>
          <a:prstGeom prst="rect">
            <a:avLst/>
          </a:prstGeom>
          <a:noFill/>
        </p:spPr>
        <p:txBody>
          <a:bodyPr wrap="square" rtlCol="0">
            <a:spAutoFit/>
          </a:bodyPr>
          <a:lstStyle/>
          <a:p>
            <a:r>
              <a:rPr lang="en-US" sz="2800" b="1" dirty="0"/>
              <a:t>DESIGN AND APPROVAL TIMELINE</a:t>
            </a:r>
          </a:p>
        </p:txBody>
      </p:sp>
      <p:sp>
        <p:nvSpPr>
          <p:cNvPr id="9" name="Rectangle 8">
            <a:extLst>
              <a:ext uri="{FF2B5EF4-FFF2-40B4-BE49-F238E27FC236}">
                <a16:creationId xmlns:a16="http://schemas.microsoft.com/office/drawing/2014/main" id="{B872CE63-6782-4380-A7E5-1FAA74F5298D}"/>
              </a:ext>
            </a:extLst>
          </p:cNvPr>
          <p:cNvSpPr/>
          <p:nvPr/>
        </p:nvSpPr>
        <p:spPr>
          <a:xfrm>
            <a:off x="441157" y="1267918"/>
            <a:ext cx="11309685" cy="1082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2887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DD1A325B-39E0-401C-8088-588A028688CE}"/>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7102E1E0-B7C3-4F76-9491-A3B3966921CA}"/>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C6A9158A-BBFA-4DED-813A-1F0F318FE29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8105213B-9B2C-4D83-9F1B-EF70780348BA}"/>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D73D486C-1D43-4208-9FD9-CC7C2550C1E8}"/>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graphicEl>
                                              <a:dgm id="{6898D4C1-54F6-4DA4-9607-F444437C8E6E}"/>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graphicEl>
                                              <a:dgm id="{DF71F57E-D542-4163-95B1-92B1B114497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C0317DA2-D763-4621-9680-990E0F78E293}"/>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graphicEl>
                                              <a:dgm id="{152FB453-AA1C-4C6D-86AE-2A7A4BF73B8B}"/>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graphicEl>
                                              <a:dgm id="{BC9CEA29-8429-48CF-B30A-81626D4345E2}"/>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graphicEl>
                                              <a:dgm id="{C0D22B8F-54BF-4FAE-9F7C-B58FA74468D0}"/>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dgm id="{E1F35975-00CA-4B74-AB7C-CD8812C99AEF}"/>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graphicEl>
                                              <a:dgm id="{8AE213BA-D8A5-421E-9FDD-0DB9C17245FC}"/>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graphicEl>
                                              <a:dgm id="{EFA63A6B-0A79-485D-8352-11725A980252}"/>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
                                            <p:graphicEl>
                                              <a:dgm id="{6014BCA6-091B-4DF5-97E7-59AAC2BED10A}"/>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
                                            <p:graphicEl>
                                              <a:dgm id="{9EB9A4EB-2FF2-4800-8AEA-CFD8C2B65D17}"/>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
                                            <p:graphicEl>
                                              <a:dgm id="{312E90A0-C6A2-413B-8A56-A92B9FC00679}"/>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
                                            <p:graphicEl>
                                              <a:dgm id="{12E85994-A1B7-4E08-899B-1A49312F5B21}"/>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
                                            <p:graphicEl>
                                              <a:dgm id="{8108F8EA-63BF-43CD-9F06-FAB14DD36490}"/>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
                                            <p:graphicEl>
                                              <a:dgm id="{EFA4158A-9CA8-4D33-A149-EB6110EA1269}"/>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
                                            <p:graphicEl>
                                              <a:dgm id="{6AD3676B-B35C-4F1B-B891-E6A623B39C7E}"/>
                                            </p:graphic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
                                            <p:graphicEl>
                                              <a:dgm id="{26F3F9B3-7461-4A61-97B5-AF1F062A6A31}"/>
                                            </p:graphic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
                                            <p:graphicEl>
                                              <a:dgm id="{70073129-181E-4CDA-8814-F1E5000C8C53}"/>
                                            </p:graphic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
                                            <p:graphicEl>
                                              <a:dgm id="{5A20FA73-3A21-4484-9105-C650E9C6EB1C}"/>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
                                            <p:graphicEl>
                                              <a:dgm id="{6CBBD92F-DE88-4D85-9025-B32662F65C69}"/>
                                            </p:graphic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graphicEl>
                                              <a:dgm id="{0DC9152C-DC27-40A1-9489-4F5568F0BD0A}"/>
                                            </p:graphicEl>
                                          </p:spTgt>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
                                            <p:graphicEl>
                                              <a:dgm id="{DF5C0733-0330-4F0C-98AC-84AB3750ECBB}"/>
                                            </p:graphic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
                                            <p:graphicEl>
                                              <a:dgm id="{4ABF3893-110F-49A2-A0B5-F97D554EB502}"/>
                                            </p:graphic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
                                            <p:graphicEl>
                                              <a:dgm id="{CB9CAB1D-6858-48F5-9C36-F4F7202AA5F2}"/>
                                            </p:graphicEl>
                                          </p:spTgt>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
                                            <p:graphicEl>
                                              <a:dgm id="{4F4A4BEC-C32A-41B0-A75D-A154BCB3F11D}"/>
                                            </p:graphicEl>
                                          </p:spTgt>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
                                            <p:graphicEl>
                                              <a:dgm id="{9511AAD5-7310-4E62-80E4-23999FD38C38}"/>
                                            </p:graphicEl>
                                          </p:spTgt>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
                                            <p:graphicEl>
                                              <a:dgm id="{EA8C2C57-BE56-4D05-A8E8-A96AD56903AD}"/>
                                            </p:graphic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2">
                                            <p:graphicEl>
                                              <a:dgm id="{B07C20D0-A685-450C-8CD9-5FE413095B29}"/>
                                            </p:graphicEl>
                                          </p:spTgt>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
                                            <p:graphicEl>
                                              <a:dgm id="{A149D706-E3FE-45C5-978B-34DA458357EE}"/>
                                            </p:graphicEl>
                                          </p:spTgt>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
                                            <p:graphicEl>
                                              <a:dgm id="{A5772133-2920-42B6-83BA-4A8604008EBB}"/>
                                            </p:graphicEl>
                                          </p:spTgt>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2">
                                            <p:graphicEl>
                                              <a:dgm id="{35D163A5-5DA1-455B-8FC7-D95ED674E5B1}"/>
                                            </p:graphicEl>
                                          </p:spTgt>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2">
                                            <p:graphicEl>
                                              <a:dgm id="{B0D7B4E5-A949-4B7A-AFBF-23B8671A67B3}"/>
                                            </p:graphicEl>
                                          </p:spTgt>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
                                            <p:graphicEl>
                                              <a:dgm id="{CE6AA003-DA7A-48F0-94CB-282E08E278A7}"/>
                                            </p:graphicEl>
                                          </p:spTgt>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
                                            <p:graphicEl>
                                              <a:dgm id="{A3F43FEA-0834-48CC-80D2-F9C98EE38C24}"/>
                                            </p:graphicEl>
                                          </p:spTgt>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2">
                                            <p:graphicEl>
                                              <a:dgm id="{99A514BB-3884-415F-9CF1-B656D28B290D}"/>
                                            </p:graphicEl>
                                          </p:spTgt>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grpId="0" nodeType="clickEffect">
                                  <p:stCondLst>
                                    <p:cond delay="0"/>
                                  </p:stCondLst>
                                  <p:childTnLst>
                                    <p:set>
                                      <p:cBhvr>
                                        <p:cTn id="126" dur="1" fill="hold">
                                          <p:stCondLst>
                                            <p:cond delay="0"/>
                                          </p:stCondLst>
                                        </p:cTn>
                                        <p:tgtEl>
                                          <p:spTgt spid="2">
                                            <p:graphicEl>
                                              <a:dgm id="{7C20B12A-BB34-4A4D-AEAF-438357388139}"/>
                                            </p:graphicEl>
                                          </p:spTgt>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2">
                                            <p:graphicEl>
                                              <a:dgm id="{D9C897B8-FFB6-4C58-B5E5-97F649197DAF}"/>
                                            </p:graphicEl>
                                          </p:spTgt>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
                                            <p:graphicEl>
                                              <a:dgm id="{21FED211-814C-4E2F-BAD3-AFCD9748E3DD}"/>
                                            </p:graphicEl>
                                          </p:spTgt>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2">
                                            <p:graphicEl>
                                              <a:dgm id="{C3DFA74F-3365-4D08-A010-707AAD545814}"/>
                                            </p:graphicEl>
                                          </p:spTgt>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2">
                                            <p:graphicEl>
                                              <a:dgm id="{D5B43AFD-C705-41A3-A3E3-441F9B8F04A8}"/>
                                            </p:graphicEl>
                                          </p:spTgt>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
                                            <p:graphicEl>
                                              <a:dgm id="{98341798-6BA7-400B-8B04-F7CDB9BF2EB2}"/>
                                            </p:graphicEl>
                                          </p:spTgt>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
                                            <p:graphicEl>
                                              <a:dgm id="{14B5A3E7-B3DC-4CB4-A581-7C6D150CD4CE}"/>
                                            </p:graphicEl>
                                          </p:spTgt>
                                        </p:tgtEl>
                                        <p:attrNameLst>
                                          <p:attrName>style.visibility</p:attrName>
                                        </p:attrNameLst>
                                      </p:cBhvr>
                                      <p:to>
                                        <p:strVal val="visible"/>
                                      </p:to>
                                    </p:set>
                                  </p:childTnLst>
                                </p:cTn>
                              </p:par>
                            </p:childTnLst>
                          </p:cTn>
                        </p:par>
                      </p:childTnLst>
                    </p:cTn>
                  </p:par>
                  <p:par>
                    <p:cTn id="143" fill="hold">
                      <p:stCondLst>
                        <p:cond delay="indefinite"/>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2">
                                            <p:graphicEl>
                                              <a:dgm id="{EDF83352-8452-4060-95B2-861797E1B118}"/>
                                            </p:graphicEl>
                                          </p:spTgt>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ntr" presetSubtype="0" fill="hold" grpId="0" nodeType="clickEffect">
                                  <p:stCondLst>
                                    <p:cond delay="0"/>
                                  </p:stCondLst>
                                  <p:childTnLst>
                                    <p:set>
                                      <p:cBhvr>
                                        <p:cTn id="150" dur="1" fill="hold">
                                          <p:stCondLst>
                                            <p:cond delay="0"/>
                                          </p:stCondLst>
                                        </p:cTn>
                                        <p:tgtEl>
                                          <p:spTgt spid="2">
                                            <p:graphicEl>
                                              <a:dgm id="{C11AD0F7-1B8E-48E9-85EA-266E1D0C4DC5}"/>
                                            </p:graphicEl>
                                          </p:spTgt>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2">
                                            <p:graphicEl>
                                              <a:dgm id="{75B6C137-0D1A-4352-B5BF-B9BA23D55469}"/>
                                            </p:graphicEl>
                                          </p:spTgt>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2">
                                            <p:graphicEl>
                                              <a:dgm id="{30007589-79AA-436B-A521-6A689039C51A}"/>
                                            </p:graphicEl>
                                          </p:spTgt>
                                        </p:tgtEl>
                                        <p:attrNameLst>
                                          <p:attrName>style.visibility</p:attrName>
                                        </p:attrNameLst>
                                      </p:cBhvr>
                                      <p:to>
                                        <p:strVal val="visible"/>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2">
                                            <p:graphicEl>
                                              <a:dgm id="{59A32783-E754-41E3-A740-899075907B5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2" descr="SmartArt timeline">
            <a:extLst>
              <a:ext uri="{FF2B5EF4-FFF2-40B4-BE49-F238E27FC236}">
                <a16:creationId xmlns:a16="http://schemas.microsoft.com/office/drawing/2014/main" id="{75CF3DF9-E991-497F-8EBB-599C0DE6970E}"/>
              </a:ext>
            </a:extLst>
          </p:cNvPr>
          <p:cNvGraphicFramePr>
            <a:graphicFrameLocks/>
          </p:cNvGraphicFramePr>
          <p:nvPr>
            <p:extLst>
              <p:ext uri="{D42A27DB-BD31-4B8C-83A1-F6EECF244321}">
                <p14:modId xmlns:p14="http://schemas.microsoft.com/office/powerpoint/2010/main" val="623784344"/>
              </p:ext>
            </p:extLst>
          </p:nvPr>
        </p:nvGraphicFramePr>
        <p:xfrm>
          <a:off x="276726" y="922889"/>
          <a:ext cx="11626517" cy="6250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CA5E4E4-953F-4143-AFCB-CBD8DC1D94EA}"/>
              </a:ext>
            </a:extLst>
          </p:cNvPr>
          <p:cNvSpPr txBox="1"/>
          <p:nvPr/>
        </p:nvSpPr>
        <p:spPr>
          <a:xfrm>
            <a:off x="441157" y="661279"/>
            <a:ext cx="6845300" cy="523220"/>
          </a:xfrm>
          <a:prstGeom prst="rect">
            <a:avLst/>
          </a:prstGeom>
          <a:noFill/>
        </p:spPr>
        <p:txBody>
          <a:bodyPr wrap="square" rtlCol="0">
            <a:spAutoFit/>
          </a:bodyPr>
          <a:lstStyle/>
          <a:p>
            <a:r>
              <a:rPr lang="en-US" sz="2800" b="1" dirty="0"/>
              <a:t>ACHIEVEMENT </a:t>
            </a:r>
          </a:p>
        </p:txBody>
      </p:sp>
      <p:sp>
        <p:nvSpPr>
          <p:cNvPr id="9" name="Rectangle 8">
            <a:extLst>
              <a:ext uri="{FF2B5EF4-FFF2-40B4-BE49-F238E27FC236}">
                <a16:creationId xmlns:a16="http://schemas.microsoft.com/office/drawing/2014/main" id="{B872CE63-6782-4380-A7E5-1FAA74F5298D}"/>
              </a:ext>
            </a:extLst>
          </p:cNvPr>
          <p:cNvSpPr/>
          <p:nvPr/>
        </p:nvSpPr>
        <p:spPr>
          <a:xfrm>
            <a:off x="441157" y="1267918"/>
            <a:ext cx="11309685" cy="1082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6481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DE79EB21-0412-43CA-9C53-437EA99BAFF9}"/>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63907C1E-9C94-4F79-800C-14D2B9501FDF}"/>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0AE93CFE-4E3D-43B8-83B2-F1A89B0CE6C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8FECFA93-98CD-44A2-820D-CA0382324CAE}"/>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6D0D6526-38D1-4C8B-B351-28419686EAA5}"/>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graphicEl>
                                              <a:dgm id="{170C22D6-3C14-4D5C-857E-3EA28D91AECE}"/>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graphicEl>
                                              <a:dgm id="{FB7B0069-BD1E-4C3F-A5A5-8A803322E330}"/>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399EBD78-E611-443E-AECA-3687D3841A26}"/>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graphicEl>
                                              <a:dgm id="{369C00D7-1780-461A-81E5-9BFF63D7DFE3}"/>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graphicEl>
                                              <a:dgm id="{7D57EAF7-DBEA-4CD9-9024-2310B92FCA87}"/>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graphicEl>
                                              <a:dgm id="{A52617F1-8601-4C1C-AC30-C677B16D1B96}"/>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dgm id="{60E006DA-4418-4AF1-AA95-0601A40B1D18}"/>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graphicEl>
                                              <a:dgm id="{6E6D177E-8EA2-4091-A87E-861F482BDE25}"/>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graphicEl>
                                              <a:dgm id="{D489328E-8E15-42E2-B975-D4A81519B11D}"/>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
                                            <p:graphicEl>
                                              <a:dgm id="{E1CE5990-6130-4995-A229-2B2C0AE0B9CC}"/>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
                                            <p:graphicEl>
                                              <a:dgm id="{744DF757-1C96-491A-8F96-9BE62991D121}"/>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
                                            <p:graphicEl>
                                              <a:dgm id="{C70227A6-4B3C-4EB8-98A9-7402EF57BCC6}"/>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
                                            <p:graphicEl>
                                              <a:dgm id="{06BB8FE6-6687-49F5-864D-A46C1D887FF0}"/>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
                                            <p:graphicEl>
                                              <a:dgm id="{4182F401-DEB3-485A-ABF0-173930C92543}"/>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
                                            <p:graphicEl>
                                              <a:dgm id="{AE10FA14-EFB0-4B6A-996F-DA410B220BA1}"/>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
                                            <p:graphicEl>
                                              <a:dgm id="{457940D4-FD75-44A9-BEE3-3B9879494F05}"/>
                                            </p:graphic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
                                            <p:graphicEl>
                                              <a:dgm id="{14B716A4-5584-497D-BC22-BF8AC72EF7BC}"/>
                                            </p:graphic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
                                            <p:graphicEl>
                                              <a:dgm id="{6F3235F4-0683-4923-812B-ED830287DA0A}"/>
                                            </p:graphic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
                                            <p:graphicEl>
                                              <a:dgm id="{B2FD13B9-5825-4FF1-AC88-080E3BB2528A}"/>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
                                            <p:graphicEl>
                                              <a:dgm id="{DD1A325B-39E0-401C-8088-588A028688CE}"/>
                                            </p:graphic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graphicEl>
                                              <a:dgm id="{7102E1E0-B7C3-4F76-9491-A3B3966921CA}"/>
                                            </p:graphicEl>
                                          </p:spTgt>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
                                            <p:graphicEl>
                                              <a:dgm id="{C6A9158A-BBFA-4DED-813A-1F0F318FE29F}"/>
                                            </p:graphic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
                                            <p:graphicEl>
                                              <a:dgm id="{8105213B-9B2C-4D83-9F1B-EF70780348BA}"/>
                                            </p:graphic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
                                            <p:graphicEl>
                                              <a:dgm id="{D73D486C-1D43-4208-9FD9-CC7C2550C1E8}"/>
                                            </p:graphicEl>
                                          </p:spTgt>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
                                            <p:graphicEl>
                                              <a:dgm id="{6898D4C1-54F6-4DA4-9607-F444437C8E6E}"/>
                                            </p:graphicEl>
                                          </p:spTgt>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
                                            <p:graphicEl>
                                              <a:dgm id="{DF71F57E-D542-4163-95B1-92B1B114497F}"/>
                                            </p:graphicEl>
                                          </p:spTgt>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
                                            <p:graphicEl>
                                              <a:dgm id="{C0317DA2-D763-4621-9680-990E0F78E293}"/>
                                            </p:graphic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2">
                                            <p:graphicEl>
                                              <a:dgm id="{152FB453-AA1C-4C6D-86AE-2A7A4BF73B8B}"/>
                                            </p:graphicEl>
                                          </p:spTgt>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
                                            <p:graphicEl>
                                              <a:dgm id="{BC9CEA29-8429-48CF-B30A-81626D4345E2}"/>
                                            </p:graphicEl>
                                          </p:spTgt>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
                                            <p:graphicEl>
                                              <a:dgm id="{C0D22B8F-54BF-4FAE-9F7C-B58FA74468D0}"/>
                                            </p:graphicEl>
                                          </p:spTgt>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2">
                                            <p:graphicEl>
                                              <a:dgm id="{E1F35975-00CA-4B74-AB7C-CD8812C99AEF}"/>
                                            </p:graphicEl>
                                          </p:spTgt>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2">
                                            <p:graphicEl>
                                              <a:dgm id="{C56B04B2-029E-43E2-AF74-3C718268F769}"/>
                                            </p:graphicEl>
                                          </p:spTgt>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
                                            <p:graphicEl>
                                              <a:dgm id="{D6292B50-9641-4045-9519-78F1EA4B1AA7}"/>
                                            </p:graphicEl>
                                          </p:spTgt>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
                                            <p:graphicEl>
                                              <a:dgm id="{78DE6E8B-1AD8-4589-8403-CC36F244C7A0}"/>
                                            </p:graphicEl>
                                          </p:spTgt>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2">
                                            <p:graphicEl>
                                              <a:dgm id="{3A2512A2-1E50-4C2E-BED4-DFD497B33F43}"/>
                                            </p:graphicEl>
                                          </p:spTgt>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grpId="0" nodeType="clickEffect">
                                  <p:stCondLst>
                                    <p:cond delay="0"/>
                                  </p:stCondLst>
                                  <p:childTnLst>
                                    <p:set>
                                      <p:cBhvr>
                                        <p:cTn id="126" dur="1" fill="hold">
                                          <p:stCondLst>
                                            <p:cond delay="0"/>
                                          </p:stCondLst>
                                        </p:cTn>
                                        <p:tgtEl>
                                          <p:spTgt spid="2">
                                            <p:graphicEl>
                                              <a:dgm id="{8AE213BA-D8A5-421E-9FDD-0DB9C17245FC}"/>
                                            </p:graphicEl>
                                          </p:spTgt>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2">
                                            <p:graphicEl>
                                              <a:dgm id="{EFA63A6B-0A79-485D-8352-11725A980252}"/>
                                            </p:graphicEl>
                                          </p:spTgt>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
                                            <p:graphicEl>
                                              <a:dgm id="{6014BCA6-091B-4DF5-97E7-59AAC2BED10A}"/>
                                            </p:graphicEl>
                                          </p:spTgt>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2">
                                            <p:graphicEl>
                                              <a:dgm id="{9EB9A4EB-2FF2-4800-8AEA-CFD8C2B65D1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2" descr="SmartArt timeline">
            <a:extLst>
              <a:ext uri="{FF2B5EF4-FFF2-40B4-BE49-F238E27FC236}">
                <a16:creationId xmlns:a16="http://schemas.microsoft.com/office/drawing/2014/main" id="{75CF3DF9-E991-497F-8EBB-599C0DE6970E}"/>
              </a:ext>
            </a:extLst>
          </p:cNvPr>
          <p:cNvGraphicFramePr>
            <a:graphicFrameLocks/>
          </p:cNvGraphicFramePr>
          <p:nvPr/>
        </p:nvGraphicFramePr>
        <p:xfrm>
          <a:off x="276726" y="922889"/>
          <a:ext cx="11626517" cy="6250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CA5E4E4-953F-4143-AFCB-CBD8DC1D94EA}"/>
              </a:ext>
            </a:extLst>
          </p:cNvPr>
          <p:cNvSpPr txBox="1"/>
          <p:nvPr/>
        </p:nvSpPr>
        <p:spPr>
          <a:xfrm>
            <a:off x="441157" y="661279"/>
            <a:ext cx="6845300" cy="523220"/>
          </a:xfrm>
          <a:prstGeom prst="rect">
            <a:avLst/>
          </a:prstGeom>
          <a:noFill/>
        </p:spPr>
        <p:txBody>
          <a:bodyPr wrap="square" rtlCol="0">
            <a:spAutoFit/>
          </a:bodyPr>
          <a:lstStyle/>
          <a:p>
            <a:r>
              <a:rPr lang="en-US" sz="2800" b="1" dirty="0"/>
              <a:t>ACHIEVEMENT </a:t>
            </a:r>
          </a:p>
        </p:txBody>
      </p:sp>
      <p:sp>
        <p:nvSpPr>
          <p:cNvPr id="9" name="Rectangle 8">
            <a:extLst>
              <a:ext uri="{FF2B5EF4-FFF2-40B4-BE49-F238E27FC236}">
                <a16:creationId xmlns:a16="http://schemas.microsoft.com/office/drawing/2014/main" id="{B872CE63-6782-4380-A7E5-1FAA74F5298D}"/>
              </a:ext>
            </a:extLst>
          </p:cNvPr>
          <p:cNvSpPr/>
          <p:nvPr/>
        </p:nvSpPr>
        <p:spPr>
          <a:xfrm>
            <a:off x="441157" y="1267918"/>
            <a:ext cx="11309685" cy="1082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3780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73F70353-DE7E-49A6-93B1-E42FB14CF15A}"/>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BED2CBA9-4216-4CCB-B4ED-603925147F00}"/>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86EA85E1-13A0-40A2-95A8-A379E03F42D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24D83C7B-47EC-4067-BAAA-44DEBEB70608}"/>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51C6F741-F2A9-4F56-A874-684D48D0AB1B}"/>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graphicEl>
                                              <a:dgm id="{228AFAF2-7DCB-4A2F-926B-B95BCD73BE5C}"/>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graphicEl>
                                              <a:dgm id="{4FD3D695-0401-418E-9A52-4D2040CCDFE6}"/>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6E971596-ACDD-4736-AE6F-F6BD7DE2C03A}"/>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graphicEl>
                                              <a:dgm id="{5A3BDA78-0671-4186-B0FB-AE7EFE40E2A7}"/>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graphicEl>
                                              <a:dgm id="{D53019CC-0853-411B-9399-9484B6EC3B2E}"/>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graphicEl>
                                              <a:dgm id="{8746E550-F4DB-411B-99FB-08B692D9C0BC}"/>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dgm id="{906D32DC-0043-491C-96E9-671B45ED55F8}"/>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graphicEl>
                                              <a:dgm id="{2011C12F-E94E-4D9F-9CBC-D9B52BED7680}"/>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graphicEl>
                                              <a:dgm id="{D04B6236-9497-46DA-A6F5-1BBA3779D9B2}"/>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
                                            <p:graphicEl>
                                              <a:dgm id="{0C359B94-720B-4D1D-B874-CA529D6215E4}"/>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
                                            <p:graphicEl>
                                              <a:dgm id="{B8B2343C-3443-45AE-8CCF-FE6AA421DCD3}"/>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
                                            <p:graphicEl>
                                              <a:dgm id="{C1B0A536-397B-46CA-904B-A6A3CC5D4B89}"/>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
                                            <p:graphicEl>
                                              <a:dgm id="{F3F631ED-26C1-46C5-922F-371E444A48F9}"/>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
                                            <p:graphicEl>
                                              <a:dgm id="{5F12C8A4-E6F3-4189-8B44-6D83E28F6830}"/>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
                                            <p:graphicEl>
                                              <a:dgm id="{DED8A9D1-CCDD-4137-93F8-389E176235FA}"/>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
                                            <p:graphicEl>
                                              <a:dgm id="{DE79EB21-0412-43CA-9C53-437EA99BAFF9}"/>
                                            </p:graphic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
                                            <p:graphicEl>
                                              <a:dgm id="{63907C1E-9C94-4F79-800C-14D2B9501FDF}"/>
                                            </p:graphic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
                                            <p:graphicEl>
                                              <a:dgm id="{0AE93CFE-4E3D-43B8-83B2-F1A89B0CE6C9}"/>
                                            </p:graphic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
                                            <p:graphicEl>
                                              <a:dgm id="{8FECFA93-98CD-44A2-820D-CA0382324CAE}"/>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
                                            <p:graphicEl>
                                              <a:dgm id="{D081F03D-0018-4375-A459-B5764FA40FFA}"/>
                                            </p:graphic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graphicEl>
                                              <a:dgm id="{8FA580D8-03A5-4EE6-8B52-44E8B51001C8}"/>
                                            </p:graphicEl>
                                          </p:spTgt>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
                                            <p:graphicEl>
                                              <a:dgm id="{74EFB8E1-FD11-4116-83E7-6385CD3BB6E2}"/>
                                            </p:graphic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
                                            <p:graphicEl>
                                              <a:dgm id="{DC213BF8-7591-4E09-BF5F-31DCB9DD3A06}"/>
                                            </p:graphic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
                                            <p:graphicEl>
                                              <a:dgm id="{6D0D6526-38D1-4C8B-B351-28419686EAA5}"/>
                                            </p:graphicEl>
                                          </p:spTgt>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
                                            <p:graphicEl>
                                              <a:dgm id="{170C22D6-3C14-4D5C-857E-3EA28D91AECE}"/>
                                            </p:graphicEl>
                                          </p:spTgt>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
                                            <p:graphicEl>
                                              <a:dgm id="{FB7B0069-BD1E-4C3F-A5A5-8A803322E330}"/>
                                            </p:graphicEl>
                                          </p:spTgt>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
                                            <p:graphicEl>
                                              <a:dgm id="{399EBD78-E611-443E-AECA-3687D3841A2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01282" y="1532823"/>
            <a:ext cx="8789435" cy="2502178"/>
          </a:xfrm>
        </p:spPr>
        <p:txBody>
          <a:bodyPr/>
          <a:lstStyle/>
          <a:p>
            <a:r>
              <a:rPr lang="en-US" sz="2400" dirty="0"/>
              <a:t>Gwadar - Lasbela Livelihoods Support Project (GLLSP) - II</a:t>
            </a:r>
            <a:br>
              <a:rPr lang="en-US" sz="2400" dirty="0"/>
            </a:br>
            <a:br>
              <a:rPr lang="en-US" sz="2400" dirty="0"/>
            </a:br>
            <a:br>
              <a:rPr lang="en-US" sz="2000" dirty="0"/>
            </a:br>
            <a:br>
              <a:rPr lang="en-US" sz="2000" dirty="0"/>
            </a:br>
            <a:endParaRPr lang="en-US" sz="1800" dirty="0"/>
          </a:p>
        </p:txBody>
      </p:sp>
      <p:pic>
        <p:nvPicPr>
          <p:cNvPr id="4" name="Picture 3">
            <a:extLst>
              <a:ext uri="{FF2B5EF4-FFF2-40B4-BE49-F238E27FC236}">
                <a16:creationId xmlns:a16="http://schemas.microsoft.com/office/drawing/2014/main" id="{0C564D9C-A480-47D8-B5DE-27F71624F53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8535"/>
          <a:stretch/>
        </p:blipFill>
        <p:spPr>
          <a:xfrm>
            <a:off x="1540327" y="1667811"/>
            <a:ext cx="9111343" cy="5190189"/>
          </a:xfrm>
          <a:prstGeom prst="rect">
            <a:avLst/>
          </a:prstGeom>
        </p:spPr>
      </p:pic>
      <p:sp>
        <p:nvSpPr>
          <p:cNvPr id="5" name="TextBox 4">
            <a:extLst>
              <a:ext uri="{FF2B5EF4-FFF2-40B4-BE49-F238E27FC236}">
                <a16:creationId xmlns:a16="http://schemas.microsoft.com/office/drawing/2014/main" id="{06C74632-D84E-4F4B-A400-181895A410F8}"/>
              </a:ext>
            </a:extLst>
          </p:cNvPr>
          <p:cNvSpPr txBox="1"/>
          <p:nvPr/>
        </p:nvSpPr>
        <p:spPr>
          <a:xfrm>
            <a:off x="1689264" y="6388388"/>
            <a:ext cx="3089430" cy="338554"/>
          </a:xfrm>
          <a:prstGeom prst="rect">
            <a:avLst/>
          </a:prstGeom>
          <a:noFill/>
        </p:spPr>
        <p:txBody>
          <a:bodyPr wrap="square" rtlCol="0">
            <a:spAutoFit/>
          </a:bodyPr>
          <a:lstStyle/>
          <a:p>
            <a:r>
              <a:rPr lang="en-US" sz="1600" dirty="0" err="1">
                <a:solidFill>
                  <a:schemeClr val="bg1"/>
                </a:solidFill>
              </a:rPr>
              <a:t>Surbandar</a:t>
            </a:r>
            <a:r>
              <a:rPr lang="en-US" sz="1600" dirty="0">
                <a:solidFill>
                  <a:schemeClr val="bg1"/>
                </a:solidFill>
              </a:rPr>
              <a:t>, Gwadar</a:t>
            </a:r>
          </a:p>
        </p:txBody>
      </p:sp>
    </p:spTree>
    <p:extLst>
      <p:ext uri="{BB962C8B-B14F-4D97-AF65-F5344CB8AC3E}">
        <p14:creationId xmlns:p14="http://schemas.microsoft.com/office/powerpoint/2010/main" val="3414541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97727" y="2248400"/>
            <a:ext cx="10976755" cy="4202870"/>
          </a:xfrm>
        </p:spPr>
        <p:txBody>
          <a:bodyPr/>
          <a:lstStyle/>
          <a:p>
            <a:r>
              <a:rPr lang="en-US" b="1" dirty="0"/>
              <a:t>Project Goal:</a:t>
            </a:r>
          </a:p>
          <a:p>
            <a:pPr lvl="1"/>
            <a:r>
              <a:rPr lang="en-US" b="1" dirty="0"/>
              <a:t>To develop a sustainable model of decentralized and integrated rural development i.e. poverty, gender</a:t>
            </a:r>
            <a:r>
              <a:rPr lang="en-US" b="1"/>
              <a:t>, youth, </a:t>
            </a:r>
            <a:r>
              <a:rPr lang="en-US" b="1" dirty="0"/>
              <a:t>nutrition and climate change sensitive.</a:t>
            </a:r>
          </a:p>
          <a:p>
            <a:pPr lvl="1"/>
            <a:endParaRPr lang="en-US" b="1" dirty="0"/>
          </a:p>
          <a:p>
            <a:pPr lvl="1"/>
            <a:endParaRPr lang="en-US" b="1" dirty="0"/>
          </a:p>
          <a:p>
            <a:r>
              <a:rPr lang="en-US" b="1" dirty="0"/>
              <a:t>Project Objective: </a:t>
            </a:r>
          </a:p>
          <a:p>
            <a:pPr lvl="1"/>
            <a:r>
              <a:rPr lang="en-US" b="1" dirty="0"/>
              <a:t>To sustainably increase the incomes and enhance the livelihoods of the rural poor fisher-folks’ families and agriculture households in the project area.</a:t>
            </a:r>
          </a:p>
          <a:p>
            <a:pPr marL="0" indent="0">
              <a:buNone/>
            </a:pPr>
            <a:endParaRPr lang="en-US" dirty="0"/>
          </a:p>
        </p:txBody>
      </p:sp>
      <p:sp>
        <p:nvSpPr>
          <p:cNvPr id="2" name="Title 1"/>
          <p:cNvSpPr>
            <a:spLocks noGrp="1"/>
          </p:cNvSpPr>
          <p:nvPr>
            <p:ph type="title"/>
          </p:nvPr>
        </p:nvSpPr>
        <p:spPr/>
        <p:txBody>
          <a:bodyPr/>
          <a:lstStyle/>
          <a:p>
            <a:r>
              <a:rPr lang="en-US" dirty="0"/>
              <a:t>GLLSP Phase - II</a:t>
            </a:r>
          </a:p>
        </p:txBody>
      </p:sp>
    </p:spTree>
    <p:extLst>
      <p:ext uri="{BB962C8B-B14F-4D97-AF65-F5344CB8AC3E}">
        <p14:creationId xmlns:p14="http://schemas.microsoft.com/office/powerpoint/2010/main" val="2038851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4D18E-7B13-49C0-AE00-B360A8343A2B}"/>
              </a:ext>
            </a:extLst>
          </p:cNvPr>
          <p:cNvSpPr>
            <a:spLocks noGrp="1"/>
          </p:cNvSpPr>
          <p:nvPr>
            <p:ph type="title"/>
          </p:nvPr>
        </p:nvSpPr>
        <p:spPr/>
        <p:txBody>
          <a:bodyPr/>
          <a:lstStyle/>
          <a:p>
            <a:r>
              <a:rPr lang="en-US" dirty="0"/>
              <a:t>Project Outcomes – GLLSP II</a:t>
            </a:r>
          </a:p>
        </p:txBody>
      </p:sp>
      <p:sp>
        <p:nvSpPr>
          <p:cNvPr id="3" name="Content Placeholder 2">
            <a:extLst>
              <a:ext uri="{FF2B5EF4-FFF2-40B4-BE49-F238E27FC236}">
                <a16:creationId xmlns:a16="http://schemas.microsoft.com/office/drawing/2014/main" id="{1663ED2F-88E0-4636-A5E6-1C8108751CB4}"/>
              </a:ext>
            </a:extLst>
          </p:cNvPr>
          <p:cNvSpPr>
            <a:spLocks noGrp="1"/>
          </p:cNvSpPr>
          <p:nvPr>
            <p:ph idx="1"/>
          </p:nvPr>
        </p:nvSpPr>
        <p:spPr>
          <a:xfrm>
            <a:off x="1406769" y="1877530"/>
            <a:ext cx="10167714" cy="4202870"/>
          </a:xfrm>
        </p:spPr>
        <p:txBody>
          <a:bodyPr anchor="ctr"/>
          <a:lstStyle/>
          <a:p>
            <a:pPr marL="457200" indent="-457200">
              <a:spcBef>
                <a:spcPts val="1200"/>
              </a:spcBef>
              <a:spcAft>
                <a:spcPts val="1200"/>
              </a:spcAft>
              <a:buFont typeface="+mj-lt"/>
              <a:buAutoNum type="arabicPeriod"/>
            </a:pPr>
            <a:r>
              <a:rPr lang="en-CA" sz="2800" b="1" dirty="0"/>
              <a:t>Improved capacities of ultra-poor and poor men and women to move out of poverty</a:t>
            </a:r>
          </a:p>
          <a:p>
            <a:pPr marL="457200" indent="-457200">
              <a:spcBef>
                <a:spcPts val="1200"/>
              </a:spcBef>
              <a:spcAft>
                <a:spcPts val="1200"/>
              </a:spcAft>
              <a:buFont typeface="+mj-lt"/>
              <a:buAutoNum type="arabicPeriod"/>
            </a:pPr>
            <a:r>
              <a:rPr lang="en-CA" sz="2800" b="1" dirty="0"/>
              <a:t>Smallholder farmers and fishing communities benefit from upgraded and inclusive value chains</a:t>
            </a:r>
          </a:p>
          <a:p>
            <a:pPr marL="457200" indent="-457200">
              <a:spcBef>
                <a:spcPts val="1200"/>
              </a:spcBef>
              <a:spcAft>
                <a:spcPts val="1200"/>
              </a:spcAft>
              <a:buFont typeface="+mj-lt"/>
              <a:buAutoNum type="arabicPeriod"/>
            </a:pPr>
            <a:r>
              <a:rPr lang="en-CA" sz="2800" b="1" dirty="0"/>
              <a:t>Improved socio-economic infrastructure</a:t>
            </a:r>
          </a:p>
        </p:txBody>
      </p:sp>
    </p:spTree>
    <p:extLst>
      <p:ext uri="{BB962C8B-B14F-4D97-AF65-F5344CB8AC3E}">
        <p14:creationId xmlns:p14="http://schemas.microsoft.com/office/powerpoint/2010/main" val="3161976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458" y="1761383"/>
            <a:ext cx="10976755" cy="609600"/>
          </a:xfrm>
        </p:spPr>
        <p:txBody>
          <a:bodyPr/>
          <a:lstStyle/>
          <a:p>
            <a:r>
              <a:rPr lang="en-US" dirty="0"/>
              <a:t>Project Cost Details (PKR) – GLLSP II</a:t>
            </a:r>
          </a:p>
        </p:txBody>
      </p:sp>
      <p:sp>
        <p:nvSpPr>
          <p:cNvPr id="3" name="Content Placeholder 2"/>
          <p:cNvSpPr>
            <a:spLocks noGrp="1"/>
          </p:cNvSpPr>
          <p:nvPr>
            <p:ph idx="1"/>
          </p:nvPr>
        </p:nvSpPr>
        <p:spPr>
          <a:xfrm>
            <a:off x="1484166" y="2569292"/>
            <a:ext cx="10150371" cy="2970801"/>
          </a:xfrm>
        </p:spPr>
        <p:txBody>
          <a:bodyPr/>
          <a:lstStyle/>
          <a:p>
            <a:r>
              <a:rPr lang="en-US" sz="2800" dirty="0"/>
              <a:t>IFAD Blend Term Loan		: PKR. 10,234.122 million</a:t>
            </a:r>
          </a:p>
          <a:p>
            <a:r>
              <a:rPr lang="en-US" sz="2800" dirty="0"/>
              <a:t>IFAD Grant				: PKR.      508.245 million</a:t>
            </a:r>
          </a:p>
          <a:p>
            <a:r>
              <a:rPr lang="en-US" sz="2800" dirty="0"/>
              <a:t>GoB					: PKR.   1,478.501 million</a:t>
            </a:r>
          </a:p>
          <a:p>
            <a:r>
              <a:rPr lang="en-US" sz="2800" dirty="0"/>
              <a:t>Beneficiary Cost			: PKR.      107.681 million</a:t>
            </a:r>
          </a:p>
          <a:p>
            <a:r>
              <a:rPr lang="en-US" sz="2800" b="1" dirty="0"/>
              <a:t>Total Cost:				: PKR. 12,328.549 mill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503" y="1258028"/>
            <a:ext cx="10633711" cy="609600"/>
          </a:xfrm>
        </p:spPr>
        <p:txBody>
          <a:bodyPr>
            <a:normAutofit/>
          </a:bodyPr>
          <a:lstStyle/>
          <a:p>
            <a:r>
              <a:rPr lang="en-IN" dirty="0"/>
              <a:t>Component 1 – </a:t>
            </a:r>
            <a:r>
              <a:rPr lang="en-GB" dirty="0"/>
              <a:t>Community Development</a:t>
            </a:r>
            <a:endParaRPr lang="en-CA" dirty="0"/>
          </a:p>
        </p:txBody>
      </p:sp>
      <p:sp>
        <p:nvSpPr>
          <p:cNvPr id="4" name="Rectangle 3">
            <a:extLst>
              <a:ext uri="{FF2B5EF4-FFF2-40B4-BE49-F238E27FC236}">
                <a16:creationId xmlns:a16="http://schemas.microsoft.com/office/drawing/2014/main" id="{F9CC8DD8-288D-4CDD-842E-913D861D6DDD}"/>
              </a:ext>
            </a:extLst>
          </p:cNvPr>
          <p:cNvSpPr/>
          <p:nvPr/>
        </p:nvSpPr>
        <p:spPr>
          <a:xfrm>
            <a:off x="1827418" y="1986787"/>
            <a:ext cx="9178877" cy="766981"/>
          </a:xfrm>
          <a:prstGeom prst="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r>
              <a:rPr lang="en-GB" sz="1600" b="1" dirty="0">
                <a:solidFill>
                  <a:schemeClr val="tx1"/>
                </a:solidFill>
              </a:rPr>
              <a:t>Aims to mainstreaming community participation in rural development, poverty graduation and improved farm to market roads.</a:t>
            </a:r>
            <a:endParaRPr lang="en-IN" sz="1600" b="1" dirty="0">
              <a:solidFill>
                <a:schemeClr val="tx1"/>
              </a:solidFill>
            </a:endParaRPr>
          </a:p>
        </p:txBody>
      </p:sp>
      <p:sp>
        <p:nvSpPr>
          <p:cNvPr id="7" name="Oval 6">
            <a:extLst>
              <a:ext uri="{FF2B5EF4-FFF2-40B4-BE49-F238E27FC236}">
                <a16:creationId xmlns:a16="http://schemas.microsoft.com/office/drawing/2014/main" id="{AB6D654A-CE6B-417E-ABF1-B0EC54E70F67}"/>
              </a:ext>
            </a:extLst>
          </p:cNvPr>
          <p:cNvSpPr/>
          <p:nvPr/>
        </p:nvSpPr>
        <p:spPr>
          <a:xfrm>
            <a:off x="1912409" y="4431397"/>
            <a:ext cx="504000" cy="50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a:p>
        </p:txBody>
      </p:sp>
      <p:sp>
        <p:nvSpPr>
          <p:cNvPr id="11" name="Rectangle 10">
            <a:extLst>
              <a:ext uri="{FF2B5EF4-FFF2-40B4-BE49-F238E27FC236}">
                <a16:creationId xmlns:a16="http://schemas.microsoft.com/office/drawing/2014/main" id="{A8F4757D-BF05-4989-A497-8AF3387F0D8C}"/>
              </a:ext>
            </a:extLst>
          </p:cNvPr>
          <p:cNvSpPr/>
          <p:nvPr/>
        </p:nvSpPr>
        <p:spPr>
          <a:xfrm>
            <a:off x="2922346" y="4347422"/>
            <a:ext cx="7507841"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just"/>
            <a:r>
              <a:rPr lang="en-US" dirty="0">
                <a:solidFill>
                  <a:schemeClr val="tx1"/>
                </a:solidFill>
              </a:rPr>
              <a:t>Poverty Graduation through asset transfer, youth skills enhancement and women empowerment</a:t>
            </a:r>
            <a:endParaRPr lang="en-US" sz="1600" dirty="0">
              <a:solidFill>
                <a:schemeClr val="tx1"/>
              </a:solidFill>
            </a:endParaRPr>
          </a:p>
        </p:txBody>
      </p:sp>
      <p:grpSp>
        <p:nvGrpSpPr>
          <p:cNvPr id="12" name="Group 11">
            <a:extLst>
              <a:ext uri="{FF2B5EF4-FFF2-40B4-BE49-F238E27FC236}">
                <a16:creationId xmlns:a16="http://schemas.microsoft.com/office/drawing/2014/main" id="{DB38479F-D6C9-418B-BB0D-5EE9E44943DD}"/>
              </a:ext>
            </a:extLst>
          </p:cNvPr>
          <p:cNvGrpSpPr/>
          <p:nvPr/>
        </p:nvGrpSpPr>
        <p:grpSpPr>
          <a:xfrm>
            <a:off x="1990327" y="4522954"/>
            <a:ext cx="348167" cy="320889"/>
            <a:chOff x="3632268" y="1678469"/>
            <a:chExt cx="1322165" cy="1218572"/>
          </a:xfrm>
          <a:solidFill>
            <a:schemeClr val="bg1"/>
          </a:solidFill>
        </p:grpSpPr>
        <p:sp>
          <p:nvSpPr>
            <p:cNvPr id="13" name="Freeform 72">
              <a:extLst>
                <a:ext uri="{FF2B5EF4-FFF2-40B4-BE49-F238E27FC236}">
                  <a16:creationId xmlns:a16="http://schemas.microsoft.com/office/drawing/2014/main" id="{1DCB2F5B-5844-47D7-A320-EF7DE769DEE8}"/>
                </a:ext>
              </a:extLst>
            </p:cNvPr>
            <p:cNvSpPr>
              <a:spLocks noEditPoints="1"/>
            </p:cNvSpPr>
            <p:nvPr/>
          </p:nvSpPr>
          <p:spPr bwMode="auto">
            <a:xfrm>
              <a:off x="3632268" y="1791889"/>
              <a:ext cx="752920" cy="745334"/>
            </a:xfrm>
            <a:custGeom>
              <a:avLst/>
              <a:gdLst>
                <a:gd name="T0" fmla="*/ 113 w 113"/>
                <a:gd name="T1" fmla="*/ 53 h 112"/>
                <a:gd name="T2" fmla="*/ 109 w 113"/>
                <a:gd name="T3" fmla="*/ 49 h 112"/>
                <a:gd name="T4" fmla="*/ 97 w 113"/>
                <a:gd name="T5" fmla="*/ 48 h 112"/>
                <a:gd name="T6" fmla="*/ 91 w 113"/>
                <a:gd name="T7" fmla="*/ 34 h 112"/>
                <a:gd name="T8" fmla="*/ 99 w 113"/>
                <a:gd name="T9" fmla="*/ 25 h 112"/>
                <a:gd name="T10" fmla="*/ 99 w 113"/>
                <a:gd name="T11" fmla="*/ 19 h 112"/>
                <a:gd name="T12" fmla="*/ 94 w 113"/>
                <a:gd name="T13" fmla="*/ 14 h 112"/>
                <a:gd name="T14" fmla="*/ 88 w 113"/>
                <a:gd name="T15" fmla="*/ 14 h 112"/>
                <a:gd name="T16" fmla="*/ 79 w 113"/>
                <a:gd name="T17" fmla="*/ 22 h 112"/>
                <a:gd name="T18" fmla="*/ 65 w 113"/>
                <a:gd name="T19" fmla="*/ 16 h 112"/>
                <a:gd name="T20" fmla="*/ 64 w 113"/>
                <a:gd name="T21" fmla="*/ 4 h 112"/>
                <a:gd name="T22" fmla="*/ 60 w 113"/>
                <a:gd name="T23" fmla="*/ 0 h 112"/>
                <a:gd name="T24" fmla="*/ 53 w 113"/>
                <a:gd name="T25" fmla="*/ 0 h 112"/>
                <a:gd name="T26" fmla="*/ 49 w 113"/>
                <a:gd name="T27" fmla="*/ 4 h 112"/>
                <a:gd name="T28" fmla="*/ 48 w 113"/>
                <a:gd name="T29" fmla="*/ 16 h 112"/>
                <a:gd name="T30" fmla="*/ 34 w 113"/>
                <a:gd name="T31" fmla="*/ 22 h 112"/>
                <a:gd name="T32" fmla="*/ 25 w 113"/>
                <a:gd name="T33" fmla="*/ 14 h 112"/>
                <a:gd name="T34" fmla="*/ 19 w 113"/>
                <a:gd name="T35" fmla="*/ 14 h 112"/>
                <a:gd name="T36" fmla="*/ 14 w 113"/>
                <a:gd name="T37" fmla="*/ 19 h 112"/>
                <a:gd name="T38" fmla="*/ 14 w 113"/>
                <a:gd name="T39" fmla="*/ 25 h 112"/>
                <a:gd name="T40" fmla="*/ 22 w 113"/>
                <a:gd name="T41" fmla="*/ 34 h 112"/>
                <a:gd name="T42" fmla="*/ 16 w 113"/>
                <a:gd name="T43" fmla="*/ 48 h 112"/>
                <a:gd name="T44" fmla="*/ 4 w 113"/>
                <a:gd name="T45" fmla="*/ 49 h 112"/>
                <a:gd name="T46" fmla="*/ 0 w 113"/>
                <a:gd name="T47" fmla="*/ 53 h 112"/>
                <a:gd name="T48" fmla="*/ 0 w 113"/>
                <a:gd name="T49" fmla="*/ 60 h 112"/>
                <a:gd name="T50" fmla="*/ 4 w 113"/>
                <a:gd name="T51" fmla="*/ 64 h 112"/>
                <a:gd name="T52" fmla="*/ 16 w 113"/>
                <a:gd name="T53" fmla="*/ 65 h 112"/>
                <a:gd name="T54" fmla="*/ 22 w 113"/>
                <a:gd name="T55" fmla="*/ 79 h 112"/>
                <a:gd name="T56" fmla="*/ 14 w 113"/>
                <a:gd name="T57" fmla="*/ 88 h 112"/>
                <a:gd name="T58" fmla="*/ 14 w 113"/>
                <a:gd name="T59" fmla="*/ 93 h 112"/>
                <a:gd name="T60" fmla="*/ 19 w 113"/>
                <a:gd name="T61" fmla="*/ 98 h 112"/>
                <a:gd name="T62" fmla="*/ 25 w 113"/>
                <a:gd name="T63" fmla="*/ 98 h 112"/>
                <a:gd name="T64" fmla="*/ 34 w 113"/>
                <a:gd name="T65" fmla="*/ 91 h 112"/>
                <a:gd name="T66" fmla="*/ 48 w 113"/>
                <a:gd name="T67" fmla="*/ 97 h 112"/>
                <a:gd name="T68" fmla="*/ 49 w 113"/>
                <a:gd name="T69" fmla="*/ 108 h 112"/>
                <a:gd name="T70" fmla="*/ 53 w 113"/>
                <a:gd name="T71" fmla="*/ 112 h 112"/>
                <a:gd name="T72" fmla="*/ 60 w 113"/>
                <a:gd name="T73" fmla="*/ 112 h 112"/>
                <a:gd name="T74" fmla="*/ 64 w 113"/>
                <a:gd name="T75" fmla="*/ 108 h 112"/>
                <a:gd name="T76" fmla="*/ 65 w 113"/>
                <a:gd name="T77" fmla="*/ 97 h 112"/>
                <a:gd name="T78" fmla="*/ 79 w 113"/>
                <a:gd name="T79" fmla="*/ 91 h 112"/>
                <a:gd name="T80" fmla="*/ 88 w 113"/>
                <a:gd name="T81" fmla="*/ 98 h 112"/>
                <a:gd name="T82" fmla="*/ 94 w 113"/>
                <a:gd name="T83" fmla="*/ 98 h 112"/>
                <a:gd name="T84" fmla="*/ 99 w 113"/>
                <a:gd name="T85" fmla="*/ 93 h 112"/>
                <a:gd name="T86" fmla="*/ 99 w 113"/>
                <a:gd name="T87" fmla="*/ 88 h 112"/>
                <a:gd name="T88" fmla="*/ 91 w 113"/>
                <a:gd name="T89" fmla="*/ 79 h 112"/>
                <a:gd name="T90" fmla="*/ 97 w 113"/>
                <a:gd name="T91" fmla="*/ 65 h 112"/>
                <a:gd name="T92" fmla="*/ 109 w 113"/>
                <a:gd name="T93" fmla="*/ 64 h 112"/>
                <a:gd name="T94" fmla="*/ 113 w 113"/>
                <a:gd name="T95" fmla="*/ 60 h 112"/>
                <a:gd name="T96" fmla="*/ 113 w 113"/>
                <a:gd name="T97" fmla="*/ 53 h 112"/>
                <a:gd name="T98" fmla="*/ 56 w 113"/>
                <a:gd name="T99" fmla="*/ 79 h 112"/>
                <a:gd name="T100" fmla="*/ 34 w 113"/>
                <a:gd name="T101" fmla="*/ 56 h 112"/>
                <a:gd name="T102" fmla="*/ 56 w 113"/>
                <a:gd name="T103" fmla="*/ 34 h 112"/>
                <a:gd name="T104" fmla="*/ 79 w 113"/>
                <a:gd name="T105" fmla="*/ 56 h 112"/>
                <a:gd name="T106" fmla="*/ 56 w 113"/>
                <a:gd name="T107" fmla="*/ 7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 h="112">
                  <a:moveTo>
                    <a:pt x="113" y="53"/>
                  </a:moveTo>
                  <a:cubicBezTo>
                    <a:pt x="113" y="51"/>
                    <a:pt x="111" y="49"/>
                    <a:pt x="109" y="49"/>
                  </a:cubicBezTo>
                  <a:cubicBezTo>
                    <a:pt x="97" y="48"/>
                    <a:pt x="97" y="48"/>
                    <a:pt x="97" y="48"/>
                  </a:cubicBezTo>
                  <a:cubicBezTo>
                    <a:pt x="96" y="43"/>
                    <a:pt x="94" y="38"/>
                    <a:pt x="91" y="34"/>
                  </a:cubicBezTo>
                  <a:cubicBezTo>
                    <a:pt x="99" y="25"/>
                    <a:pt x="99" y="25"/>
                    <a:pt x="99" y="25"/>
                  </a:cubicBezTo>
                  <a:cubicBezTo>
                    <a:pt x="100" y="23"/>
                    <a:pt x="100" y="20"/>
                    <a:pt x="99" y="19"/>
                  </a:cubicBezTo>
                  <a:cubicBezTo>
                    <a:pt x="97" y="18"/>
                    <a:pt x="95" y="15"/>
                    <a:pt x="94" y="14"/>
                  </a:cubicBezTo>
                  <a:cubicBezTo>
                    <a:pt x="92" y="13"/>
                    <a:pt x="90" y="13"/>
                    <a:pt x="88" y="14"/>
                  </a:cubicBezTo>
                  <a:cubicBezTo>
                    <a:pt x="79" y="22"/>
                    <a:pt x="79" y="22"/>
                    <a:pt x="79" y="22"/>
                  </a:cubicBezTo>
                  <a:cubicBezTo>
                    <a:pt x="75" y="19"/>
                    <a:pt x="70" y="17"/>
                    <a:pt x="65" y="16"/>
                  </a:cubicBezTo>
                  <a:cubicBezTo>
                    <a:pt x="64" y="4"/>
                    <a:pt x="64" y="4"/>
                    <a:pt x="64" y="4"/>
                  </a:cubicBezTo>
                  <a:cubicBezTo>
                    <a:pt x="64" y="2"/>
                    <a:pt x="62" y="0"/>
                    <a:pt x="60" y="0"/>
                  </a:cubicBezTo>
                  <a:cubicBezTo>
                    <a:pt x="58" y="0"/>
                    <a:pt x="55" y="0"/>
                    <a:pt x="53" y="0"/>
                  </a:cubicBezTo>
                  <a:cubicBezTo>
                    <a:pt x="51" y="0"/>
                    <a:pt x="49" y="2"/>
                    <a:pt x="49" y="4"/>
                  </a:cubicBezTo>
                  <a:cubicBezTo>
                    <a:pt x="48" y="16"/>
                    <a:pt x="48" y="16"/>
                    <a:pt x="48" y="16"/>
                  </a:cubicBezTo>
                  <a:cubicBezTo>
                    <a:pt x="43" y="17"/>
                    <a:pt x="38" y="19"/>
                    <a:pt x="34" y="22"/>
                  </a:cubicBezTo>
                  <a:cubicBezTo>
                    <a:pt x="25" y="14"/>
                    <a:pt x="25" y="14"/>
                    <a:pt x="25" y="14"/>
                  </a:cubicBezTo>
                  <a:cubicBezTo>
                    <a:pt x="23" y="13"/>
                    <a:pt x="21" y="13"/>
                    <a:pt x="19" y="14"/>
                  </a:cubicBezTo>
                  <a:cubicBezTo>
                    <a:pt x="18" y="15"/>
                    <a:pt x="16" y="18"/>
                    <a:pt x="14" y="19"/>
                  </a:cubicBezTo>
                  <a:cubicBezTo>
                    <a:pt x="13" y="20"/>
                    <a:pt x="13" y="23"/>
                    <a:pt x="14" y="25"/>
                  </a:cubicBezTo>
                  <a:cubicBezTo>
                    <a:pt x="22" y="34"/>
                    <a:pt x="22" y="34"/>
                    <a:pt x="22" y="34"/>
                  </a:cubicBezTo>
                  <a:cubicBezTo>
                    <a:pt x="19" y="38"/>
                    <a:pt x="17" y="43"/>
                    <a:pt x="16" y="48"/>
                  </a:cubicBezTo>
                  <a:cubicBezTo>
                    <a:pt x="4" y="49"/>
                    <a:pt x="4" y="49"/>
                    <a:pt x="4" y="49"/>
                  </a:cubicBezTo>
                  <a:cubicBezTo>
                    <a:pt x="2" y="49"/>
                    <a:pt x="0" y="51"/>
                    <a:pt x="0" y="53"/>
                  </a:cubicBezTo>
                  <a:cubicBezTo>
                    <a:pt x="0" y="55"/>
                    <a:pt x="0" y="58"/>
                    <a:pt x="0" y="60"/>
                  </a:cubicBezTo>
                  <a:cubicBezTo>
                    <a:pt x="0" y="62"/>
                    <a:pt x="2" y="64"/>
                    <a:pt x="4" y="64"/>
                  </a:cubicBezTo>
                  <a:cubicBezTo>
                    <a:pt x="16" y="65"/>
                    <a:pt x="16" y="65"/>
                    <a:pt x="16" y="65"/>
                  </a:cubicBezTo>
                  <a:cubicBezTo>
                    <a:pt x="17" y="70"/>
                    <a:pt x="19" y="75"/>
                    <a:pt x="22" y="79"/>
                  </a:cubicBezTo>
                  <a:cubicBezTo>
                    <a:pt x="14" y="88"/>
                    <a:pt x="14" y="88"/>
                    <a:pt x="14" y="88"/>
                  </a:cubicBezTo>
                  <a:cubicBezTo>
                    <a:pt x="13" y="90"/>
                    <a:pt x="13" y="92"/>
                    <a:pt x="14" y="93"/>
                  </a:cubicBezTo>
                  <a:cubicBezTo>
                    <a:pt x="16" y="95"/>
                    <a:pt x="18" y="97"/>
                    <a:pt x="19" y="98"/>
                  </a:cubicBezTo>
                  <a:cubicBezTo>
                    <a:pt x="21" y="100"/>
                    <a:pt x="23" y="100"/>
                    <a:pt x="25" y="98"/>
                  </a:cubicBezTo>
                  <a:cubicBezTo>
                    <a:pt x="34" y="91"/>
                    <a:pt x="34" y="91"/>
                    <a:pt x="34" y="91"/>
                  </a:cubicBezTo>
                  <a:cubicBezTo>
                    <a:pt x="38" y="94"/>
                    <a:pt x="43" y="96"/>
                    <a:pt x="48" y="97"/>
                  </a:cubicBezTo>
                  <a:cubicBezTo>
                    <a:pt x="49" y="108"/>
                    <a:pt x="49" y="108"/>
                    <a:pt x="49" y="108"/>
                  </a:cubicBezTo>
                  <a:cubicBezTo>
                    <a:pt x="49" y="111"/>
                    <a:pt x="51" y="112"/>
                    <a:pt x="53" y="112"/>
                  </a:cubicBezTo>
                  <a:cubicBezTo>
                    <a:pt x="55" y="112"/>
                    <a:pt x="58" y="112"/>
                    <a:pt x="60" y="112"/>
                  </a:cubicBezTo>
                  <a:cubicBezTo>
                    <a:pt x="62" y="112"/>
                    <a:pt x="64" y="111"/>
                    <a:pt x="64" y="108"/>
                  </a:cubicBezTo>
                  <a:cubicBezTo>
                    <a:pt x="65" y="97"/>
                    <a:pt x="65" y="97"/>
                    <a:pt x="65" y="97"/>
                  </a:cubicBezTo>
                  <a:cubicBezTo>
                    <a:pt x="70" y="96"/>
                    <a:pt x="75" y="94"/>
                    <a:pt x="79" y="91"/>
                  </a:cubicBezTo>
                  <a:cubicBezTo>
                    <a:pt x="88" y="98"/>
                    <a:pt x="88" y="98"/>
                    <a:pt x="88" y="98"/>
                  </a:cubicBezTo>
                  <a:cubicBezTo>
                    <a:pt x="90" y="100"/>
                    <a:pt x="92" y="100"/>
                    <a:pt x="94" y="98"/>
                  </a:cubicBezTo>
                  <a:cubicBezTo>
                    <a:pt x="95" y="97"/>
                    <a:pt x="97" y="95"/>
                    <a:pt x="99" y="93"/>
                  </a:cubicBezTo>
                  <a:cubicBezTo>
                    <a:pt x="100" y="92"/>
                    <a:pt x="100" y="90"/>
                    <a:pt x="99" y="88"/>
                  </a:cubicBezTo>
                  <a:cubicBezTo>
                    <a:pt x="91" y="79"/>
                    <a:pt x="91" y="79"/>
                    <a:pt x="91" y="79"/>
                  </a:cubicBezTo>
                  <a:cubicBezTo>
                    <a:pt x="94" y="75"/>
                    <a:pt x="96" y="70"/>
                    <a:pt x="97" y="65"/>
                  </a:cubicBezTo>
                  <a:cubicBezTo>
                    <a:pt x="109" y="64"/>
                    <a:pt x="109" y="64"/>
                    <a:pt x="109" y="64"/>
                  </a:cubicBezTo>
                  <a:cubicBezTo>
                    <a:pt x="111" y="64"/>
                    <a:pt x="113" y="62"/>
                    <a:pt x="113" y="60"/>
                  </a:cubicBezTo>
                  <a:cubicBezTo>
                    <a:pt x="113" y="58"/>
                    <a:pt x="113" y="55"/>
                    <a:pt x="113" y="53"/>
                  </a:cubicBezTo>
                  <a:close/>
                  <a:moveTo>
                    <a:pt x="56" y="79"/>
                  </a:moveTo>
                  <a:cubicBezTo>
                    <a:pt x="44" y="79"/>
                    <a:pt x="34" y="69"/>
                    <a:pt x="34" y="56"/>
                  </a:cubicBezTo>
                  <a:cubicBezTo>
                    <a:pt x="34" y="44"/>
                    <a:pt x="44" y="34"/>
                    <a:pt x="56" y="34"/>
                  </a:cubicBezTo>
                  <a:cubicBezTo>
                    <a:pt x="69" y="34"/>
                    <a:pt x="79" y="44"/>
                    <a:pt x="79" y="56"/>
                  </a:cubicBezTo>
                  <a:cubicBezTo>
                    <a:pt x="79" y="69"/>
                    <a:pt x="69" y="79"/>
                    <a:pt x="56"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4" name="Freeform 73">
              <a:extLst>
                <a:ext uri="{FF2B5EF4-FFF2-40B4-BE49-F238E27FC236}">
                  <a16:creationId xmlns:a16="http://schemas.microsoft.com/office/drawing/2014/main" id="{C536DF8A-41A8-4ED9-945F-4DAB35F32095}"/>
                </a:ext>
              </a:extLst>
            </p:cNvPr>
            <p:cNvSpPr>
              <a:spLocks noEditPoints="1"/>
            </p:cNvSpPr>
            <p:nvPr/>
          </p:nvSpPr>
          <p:spPr bwMode="auto">
            <a:xfrm>
              <a:off x="4324470" y="1678469"/>
              <a:ext cx="505994" cy="506342"/>
            </a:xfrm>
            <a:custGeom>
              <a:avLst/>
              <a:gdLst>
                <a:gd name="T0" fmla="*/ 74 w 76"/>
                <a:gd name="T1" fmla="*/ 47 h 76"/>
                <a:gd name="T2" fmla="*/ 67 w 76"/>
                <a:gd name="T3" fmla="*/ 43 h 76"/>
                <a:gd name="T4" fmla="*/ 67 w 76"/>
                <a:gd name="T5" fmla="*/ 33 h 76"/>
                <a:gd name="T6" fmla="*/ 74 w 76"/>
                <a:gd name="T7" fmla="*/ 29 h 76"/>
                <a:gd name="T8" fmla="*/ 76 w 76"/>
                <a:gd name="T9" fmla="*/ 25 h 76"/>
                <a:gd name="T10" fmla="*/ 74 w 76"/>
                <a:gd name="T11" fmla="*/ 21 h 76"/>
                <a:gd name="T12" fmla="*/ 70 w 76"/>
                <a:gd name="T13" fmla="*/ 19 h 76"/>
                <a:gd name="T14" fmla="*/ 62 w 76"/>
                <a:gd name="T15" fmla="*/ 22 h 76"/>
                <a:gd name="T16" fmla="*/ 55 w 76"/>
                <a:gd name="T17" fmla="*/ 14 h 76"/>
                <a:gd name="T18" fmla="*/ 57 w 76"/>
                <a:gd name="T19" fmla="*/ 6 h 76"/>
                <a:gd name="T20" fmla="*/ 56 w 76"/>
                <a:gd name="T21" fmla="*/ 3 h 76"/>
                <a:gd name="T22" fmla="*/ 51 w 76"/>
                <a:gd name="T23" fmla="*/ 1 h 76"/>
                <a:gd name="T24" fmla="*/ 48 w 76"/>
                <a:gd name="T25" fmla="*/ 2 h 76"/>
                <a:gd name="T26" fmla="*/ 44 w 76"/>
                <a:gd name="T27" fmla="*/ 10 h 76"/>
                <a:gd name="T28" fmla="*/ 33 w 76"/>
                <a:gd name="T29" fmla="*/ 10 h 76"/>
                <a:gd name="T30" fmla="*/ 29 w 76"/>
                <a:gd name="T31" fmla="*/ 2 h 76"/>
                <a:gd name="T32" fmla="*/ 26 w 76"/>
                <a:gd name="T33" fmla="*/ 1 h 76"/>
                <a:gd name="T34" fmla="*/ 21 w 76"/>
                <a:gd name="T35" fmla="*/ 3 h 76"/>
                <a:gd name="T36" fmla="*/ 19 w 76"/>
                <a:gd name="T37" fmla="*/ 6 h 76"/>
                <a:gd name="T38" fmla="*/ 22 w 76"/>
                <a:gd name="T39" fmla="*/ 14 h 76"/>
                <a:gd name="T40" fmla="*/ 14 w 76"/>
                <a:gd name="T41" fmla="*/ 22 h 76"/>
                <a:gd name="T42" fmla="*/ 6 w 76"/>
                <a:gd name="T43" fmla="*/ 19 h 76"/>
                <a:gd name="T44" fmla="*/ 3 w 76"/>
                <a:gd name="T45" fmla="*/ 21 h 76"/>
                <a:gd name="T46" fmla="*/ 1 w 76"/>
                <a:gd name="T47" fmla="*/ 25 h 76"/>
                <a:gd name="T48" fmla="*/ 3 w 76"/>
                <a:gd name="T49" fmla="*/ 29 h 76"/>
                <a:gd name="T50" fmla="*/ 10 w 76"/>
                <a:gd name="T51" fmla="*/ 33 h 76"/>
                <a:gd name="T52" fmla="*/ 10 w 76"/>
                <a:gd name="T53" fmla="*/ 44 h 76"/>
                <a:gd name="T54" fmla="*/ 3 w 76"/>
                <a:gd name="T55" fmla="*/ 47 h 76"/>
                <a:gd name="T56" fmla="*/ 1 w 76"/>
                <a:gd name="T57" fmla="*/ 51 h 76"/>
                <a:gd name="T58" fmla="*/ 3 w 76"/>
                <a:gd name="T59" fmla="*/ 55 h 76"/>
                <a:gd name="T60" fmla="*/ 6 w 76"/>
                <a:gd name="T61" fmla="*/ 57 h 76"/>
                <a:gd name="T62" fmla="*/ 14 w 76"/>
                <a:gd name="T63" fmla="*/ 54 h 76"/>
                <a:gd name="T64" fmla="*/ 22 w 76"/>
                <a:gd name="T65" fmla="*/ 62 h 76"/>
                <a:gd name="T66" fmla="*/ 19 w 76"/>
                <a:gd name="T67" fmla="*/ 70 h 76"/>
                <a:gd name="T68" fmla="*/ 21 w 76"/>
                <a:gd name="T69" fmla="*/ 73 h 76"/>
                <a:gd name="T70" fmla="*/ 26 w 76"/>
                <a:gd name="T71" fmla="*/ 75 h 76"/>
                <a:gd name="T72" fmla="*/ 29 w 76"/>
                <a:gd name="T73" fmla="*/ 74 h 76"/>
                <a:gd name="T74" fmla="*/ 33 w 76"/>
                <a:gd name="T75" fmla="*/ 66 h 76"/>
                <a:gd name="T76" fmla="*/ 44 w 76"/>
                <a:gd name="T77" fmla="*/ 66 h 76"/>
                <a:gd name="T78" fmla="*/ 48 w 76"/>
                <a:gd name="T79" fmla="*/ 74 h 76"/>
                <a:gd name="T80" fmla="*/ 51 w 76"/>
                <a:gd name="T81" fmla="*/ 75 h 76"/>
                <a:gd name="T82" fmla="*/ 56 w 76"/>
                <a:gd name="T83" fmla="*/ 73 h 76"/>
                <a:gd name="T84" fmla="*/ 57 w 76"/>
                <a:gd name="T85" fmla="*/ 70 h 76"/>
                <a:gd name="T86" fmla="*/ 55 w 76"/>
                <a:gd name="T87" fmla="*/ 62 h 76"/>
                <a:gd name="T88" fmla="*/ 62 w 76"/>
                <a:gd name="T89" fmla="*/ 54 h 76"/>
                <a:gd name="T90" fmla="*/ 70 w 76"/>
                <a:gd name="T91" fmla="*/ 57 h 76"/>
                <a:gd name="T92" fmla="*/ 74 w 76"/>
                <a:gd name="T93" fmla="*/ 55 h 76"/>
                <a:gd name="T94" fmla="*/ 76 w 76"/>
                <a:gd name="T95" fmla="*/ 51 h 76"/>
                <a:gd name="T96" fmla="*/ 74 w 76"/>
                <a:gd name="T97" fmla="*/ 47 h 76"/>
                <a:gd name="T98" fmla="*/ 43 w 76"/>
                <a:gd name="T99" fmla="*/ 49 h 76"/>
                <a:gd name="T100" fmla="*/ 28 w 76"/>
                <a:gd name="T101" fmla="*/ 42 h 76"/>
                <a:gd name="T102" fmla="*/ 34 w 76"/>
                <a:gd name="T103" fmla="*/ 27 h 76"/>
                <a:gd name="T104" fmla="*/ 49 w 76"/>
                <a:gd name="T105" fmla="*/ 34 h 76"/>
                <a:gd name="T106" fmla="*/ 43 w 76"/>
                <a:gd name="T107"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6">
                  <a:moveTo>
                    <a:pt x="74" y="47"/>
                  </a:moveTo>
                  <a:cubicBezTo>
                    <a:pt x="67" y="43"/>
                    <a:pt x="67" y="43"/>
                    <a:pt x="67" y="43"/>
                  </a:cubicBezTo>
                  <a:cubicBezTo>
                    <a:pt x="67" y="40"/>
                    <a:pt x="67" y="36"/>
                    <a:pt x="67" y="33"/>
                  </a:cubicBezTo>
                  <a:cubicBezTo>
                    <a:pt x="74" y="29"/>
                    <a:pt x="74" y="29"/>
                    <a:pt x="74" y="29"/>
                  </a:cubicBezTo>
                  <a:cubicBezTo>
                    <a:pt x="75" y="28"/>
                    <a:pt x="76" y="27"/>
                    <a:pt x="76" y="25"/>
                  </a:cubicBezTo>
                  <a:cubicBezTo>
                    <a:pt x="75" y="24"/>
                    <a:pt x="74" y="22"/>
                    <a:pt x="74" y="21"/>
                  </a:cubicBezTo>
                  <a:cubicBezTo>
                    <a:pt x="73" y="19"/>
                    <a:pt x="72" y="19"/>
                    <a:pt x="70" y="19"/>
                  </a:cubicBezTo>
                  <a:cubicBezTo>
                    <a:pt x="62" y="22"/>
                    <a:pt x="62" y="22"/>
                    <a:pt x="62" y="22"/>
                  </a:cubicBezTo>
                  <a:cubicBezTo>
                    <a:pt x="60" y="19"/>
                    <a:pt x="58" y="16"/>
                    <a:pt x="55" y="14"/>
                  </a:cubicBezTo>
                  <a:cubicBezTo>
                    <a:pt x="57" y="6"/>
                    <a:pt x="57" y="6"/>
                    <a:pt x="57" y="6"/>
                  </a:cubicBezTo>
                  <a:cubicBezTo>
                    <a:pt x="58" y="5"/>
                    <a:pt x="57" y="3"/>
                    <a:pt x="56" y="3"/>
                  </a:cubicBezTo>
                  <a:cubicBezTo>
                    <a:pt x="54" y="2"/>
                    <a:pt x="52" y="1"/>
                    <a:pt x="51" y="1"/>
                  </a:cubicBezTo>
                  <a:cubicBezTo>
                    <a:pt x="50" y="0"/>
                    <a:pt x="48" y="1"/>
                    <a:pt x="48" y="2"/>
                  </a:cubicBezTo>
                  <a:cubicBezTo>
                    <a:pt x="44" y="10"/>
                    <a:pt x="44" y="10"/>
                    <a:pt x="44" y="10"/>
                  </a:cubicBezTo>
                  <a:cubicBezTo>
                    <a:pt x="40" y="9"/>
                    <a:pt x="37" y="9"/>
                    <a:pt x="33" y="10"/>
                  </a:cubicBezTo>
                  <a:cubicBezTo>
                    <a:pt x="29" y="2"/>
                    <a:pt x="29" y="2"/>
                    <a:pt x="29" y="2"/>
                  </a:cubicBezTo>
                  <a:cubicBezTo>
                    <a:pt x="28" y="1"/>
                    <a:pt x="27" y="0"/>
                    <a:pt x="26" y="1"/>
                  </a:cubicBezTo>
                  <a:cubicBezTo>
                    <a:pt x="24" y="1"/>
                    <a:pt x="22" y="2"/>
                    <a:pt x="21" y="3"/>
                  </a:cubicBezTo>
                  <a:cubicBezTo>
                    <a:pt x="20" y="3"/>
                    <a:pt x="19" y="5"/>
                    <a:pt x="19" y="6"/>
                  </a:cubicBezTo>
                  <a:cubicBezTo>
                    <a:pt x="22" y="14"/>
                    <a:pt x="22" y="14"/>
                    <a:pt x="22" y="14"/>
                  </a:cubicBezTo>
                  <a:cubicBezTo>
                    <a:pt x="19" y="16"/>
                    <a:pt x="16" y="19"/>
                    <a:pt x="14" y="22"/>
                  </a:cubicBezTo>
                  <a:cubicBezTo>
                    <a:pt x="6" y="19"/>
                    <a:pt x="6" y="19"/>
                    <a:pt x="6" y="19"/>
                  </a:cubicBezTo>
                  <a:cubicBezTo>
                    <a:pt x="5" y="19"/>
                    <a:pt x="3" y="19"/>
                    <a:pt x="3" y="21"/>
                  </a:cubicBezTo>
                  <a:cubicBezTo>
                    <a:pt x="2" y="22"/>
                    <a:pt x="2" y="24"/>
                    <a:pt x="1" y="25"/>
                  </a:cubicBezTo>
                  <a:cubicBezTo>
                    <a:pt x="0" y="27"/>
                    <a:pt x="1" y="28"/>
                    <a:pt x="3" y="29"/>
                  </a:cubicBezTo>
                  <a:cubicBezTo>
                    <a:pt x="10" y="33"/>
                    <a:pt x="10" y="33"/>
                    <a:pt x="10" y="33"/>
                  </a:cubicBezTo>
                  <a:cubicBezTo>
                    <a:pt x="9" y="36"/>
                    <a:pt x="9" y="40"/>
                    <a:pt x="10" y="44"/>
                  </a:cubicBezTo>
                  <a:cubicBezTo>
                    <a:pt x="3" y="47"/>
                    <a:pt x="3" y="47"/>
                    <a:pt x="3" y="47"/>
                  </a:cubicBezTo>
                  <a:cubicBezTo>
                    <a:pt x="1" y="48"/>
                    <a:pt x="0" y="50"/>
                    <a:pt x="1" y="51"/>
                  </a:cubicBezTo>
                  <a:cubicBezTo>
                    <a:pt x="2" y="52"/>
                    <a:pt x="2" y="54"/>
                    <a:pt x="3" y="55"/>
                  </a:cubicBezTo>
                  <a:cubicBezTo>
                    <a:pt x="3" y="57"/>
                    <a:pt x="5" y="57"/>
                    <a:pt x="6" y="57"/>
                  </a:cubicBezTo>
                  <a:cubicBezTo>
                    <a:pt x="14" y="54"/>
                    <a:pt x="14" y="54"/>
                    <a:pt x="14" y="54"/>
                  </a:cubicBezTo>
                  <a:cubicBezTo>
                    <a:pt x="16" y="57"/>
                    <a:pt x="19" y="60"/>
                    <a:pt x="22" y="62"/>
                  </a:cubicBezTo>
                  <a:cubicBezTo>
                    <a:pt x="19" y="70"/>
                    <a:pt x="19" y="70"/>
                    <a:pt x="19" y="70"/>
                  </a:cubicBezTo>
                  <a:cubicBezTo>
                    <a:pt x="19" y="71"/>
                    <a:pt x="20" y="73"/>
                    <a:pt x="21" y="73"/>
                  </a:cubicBezTo>
                  <a:cubicBezTo>
                    <a:pt x="22" y="74"/>
                    <a:pt x="24" y="75"/>
                    <a:pt x="26" y="75"/>
                  </a:cubicBezTo>
                  <a:cubicBezTo>
                    <a:pt x="27" y="76"/>
                    <a:pt x="28" y="75"/>
                    <a:pt x="29" y="74"/>
                  </a:cubicBezTo>
                  <a:cubicBezTo>
                    <a:pt x="33" y="66"/>
                    <a:pt x="33" y="66"/>
                    <a:pt x="33" y="66"/>
                  </a:cubicBezTo>
                  <a:cubicBezTo>
                    <a:pt x="36" y="67"/>
                    <a:pt x="40" y="67"/>
                    <a:pt x="44" y="66"/>
                  </a:cubicBezTo>
                  <a:cubicBezTo>
                    <a:pt x="48" y="74"/>
                    <a:pt x="48" y="74"/>
                    <a:pt x="48" y="74"/>
                  </a:cubicBezTo>
                  <a:cubicBezTo>
                    <a:pt x="48" y="75"/>
                    <a:pt x="50" y="76"/>
                    <a:pt x="51" y="75"/>
                  </a:cubicBezTo>
                  <a:cubicBezTo>
                    <a:pt x="52" y="75"/>
                    <a:pt x="54" y="74"/>
                    <a:pt x="56" y="73"/>
                  </a:cubicBezTo>
                  <a:cubicBezTo>
                    <a:pt x="57" y="73"/>
                    <a:pt x="58" y="71"/>
                    <a:pt x="57" y="70"/>
                  </a:cubicBezTo>
                  <a:cubicBezTo>
                    <a:pt x="55" y="62"/>
                    <a:pt x="55" y="62"/>
                    <a:pt x="55" y="62"/>
                  </a:cubicBezTo>
                  <a:cubicBezTo>
                    <a:pt x="58" y="60"/>
                    <a:pt x="60" y="57"/>
                    <a:pt x="62" y="54"/>
                  </a:cubicBezTo>
                  <a:cubicBezTo>
                    <a:pt x="70" y="57"/>
                    <a:pt x="70" y="57"/>
                    <a:pt x="70" y="57"/>
                  </a:cubicBezTo>
                  <a:cubicBezTo>
                    <a:pt x="72" y="57"/>
                    <a:pt x="73" y="57"/>
                    <a:pt x="74" y="55"/>
                  </a:cubicBezTo>
                  <a:cubicBezTo>
                    <a:pt x="74" y="54"/>
                    <a:pt x="75" y="52"/>
                    <a:pt x="76" y="51"/>
                  </a:cubicBezTo>
                  <a:cubicBezTo>
                    <a:pt x="76" y="50"/>
                    <a:pt x="75" y="48"/>
                    <a:pt x="74" y="47"/>
                  </a:cubicBezTo>
                  <a:close/>
                  <a:moveTo>
                    <a:pt x="43" y="49"/>
                  </a:moveTo>
                  <a:cubicBezTo>
                    <a:pt x="37" y="51"/>
                    <a:pt x="30" y="48"/>
                    <a:pt x="28" y="42"/>
                  </a:cubicBezTo>
                  <a:cubicBezTo>
                    <a:pt x="25" y="37"/>
                    <a:pt x="28" y="30"/>
                    <a:pt x="34" y="27"/>
                  </a:cubicBezTo>
                  <a:cubicBezTo>
                    <a:pt x="40" y="25"/>
                    <a:pt x="47" y="28"/>
                    <a:pt x="49" y="34"/>
                  </a:cubicBezTo>
                  <a:cubicBezTo>
                    <a:pt x="51" y="40"/>
                    <a:pt x="49" y="46"/>
                    <a:pt x="4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5" name="Freeform 72">
              <a:extLst>
                <a:ext uri="{FF2B5EF4-FFF2-40B4-BE49-F238E27FC236}">
                  <a16:creationId xmlns:a16="http://schemas.microsoft.com/office/drawing/2014/main" id="{EE4D8446-B506-430E-9B42-8457019A5CCA}"/>
                </a:ext>
              </a:extLst>
            </p:cNvPr>
            <p:cNvSpPr>
              <a:spLocks noEditPoints="1"/>
            </p:cNvSpPr>
            <p:nvPr/>
          </p:nvSpPr>
          <p:spPr bwMode="auto">
            <a:xfrm>
              <a:off x="4201513" y="2151707"/>
              <a:ext cx="752920" cy="745334"/>
            </a:xfrm>
            <a:custGeom>
              <a:avLst/>
              <a:gdLst>
                <a:gd name="T0" fmla="*/ 113 w 113"/>
                <a:gd name="T1" fmla="*/ 53 h 112"/>
                <a:gd name="T2" fmla="*/ 109 w 113"/>
                <a:gd name="T3" fmla="*/ 49 h 112"/>
                <a:gd name="T4" fmla="*/ 97 w 113"/>
                <a:gd name="T5" fmla="*/ 48 h 112"/>
                <a:gd name="T6" fmla="*/ 91 w 113"/>
                <a:gd name="T7" fmla="*/ 34 h 112"/>
                <a:gd name="T8" fmla="*/ 99 w 113"/>
                <a:gd name="T9" fmla="*/ 25 h 112"/>
                <a:gd name="T10" fmla="*/ 99 w 113"/>
                <a:gd name="T11" fmla="*/ 19 h 112"/>
                <a:gd name="T12" fmla="*/ 94 w 113"/>
                <a:gd name="T13" fmla="*/ 14 h 112"/>
                <a:gd name="T14" fmla="*/ 88 w 113"/>
                <a:gd name="T15" fmla="*/ 14 h 112"/>
                <a:gd name="T16" fmla="*/ 79 w 113"/>
                <a:gd name="T17" fmla="*/ 22 h 112"/>
                <a:gd name="T18" fmla="*/ 65 w 113"/>
                <a:gd name="T19" fmla="*/ 16 h 112"/>
                <a:gd name="T20" fmla="*/ 64 w 113"/>
                <a:gd name="T21" fmla="*/ 4 h 112"/>
                <a:gd name="T22" fmla="*/ 60 w 113"/>
                <a:gd name="T23" fmla="*/ 0 h 112"/>
                <a:gd name="T24" fmla="*/ 53 w 113"/>
                <a:gd name="T25" fmla="*/ 0 h 112"/>
                <a:gd name="T26" fmla="*/ 49 w 113"/>
                <a:gd name="T27" fmla="*/ 4 h 112"/>
                <a:gd name="T28" fmla="*/ 48 w 113"/>
                <a:gd name="T29" fmla="*/ 16 h 112"/>
                <a:gd name="T30" fmla="*/ 34 w 113"/>
                <a:gd name="T31" fmla="*/ 22 h 112"/>
                <a:gd name="T32" fmla="*/ 25 w 113"/>
                <a:gd name="T33" fmla="*/ 14 h 112"/>
                <a:gd name="T34" fmla="*/ 19 w 113"/>
                <a:gd name="T35" fmla="*/ 14 h 112"/>
                <a:gd name="T36" fmla="*/ 14 w 113"/>
                <a:gd name="T37" fmla="*/ 19 h 112"/>
                <a:gd name="T38" fmla="*/ 14 w 113"/>
                <a:gd name="T39" fmla="*/ 25 h 112"/>
                <a:gd name="T40" fmla="*/ 22 w 113"/>
                <a:gd name="T41" fmla="*/ 34 h 112"/>
                <a:gd name="T42" fmla="*/ 16 w 113"/>
                <a:gd name="T43" fmla="*/ 48 h 112"/>
                <a:gd name="T44" fmla="*/ 4 w 113"/>
                <a:gd name="T45" fmla="*/ 49 h 112"/>
                <a:gd name="T46" fmla="*/ 0 w 113"/>
                <a:gd name="T47" fmla="*/ 53 h 112"/>
                <a:gd name="T48" fmla="*/ 0 w 113"/>
                <a:gd name="T49" fmla="*/ 60 h 112"/>
                <a:gd name="T50" fmla="*/ 4 w 113"/>
                <a:gd name="T51" fmla="*/ 64 h 112"/>
                <a:gd name="T52" fmla="*/ 16 w 113"/>
                <a:gd name="T53" fmla="*/ 65 h 112"/>
                <a:gd name="T54" fmla="*/ 22 w 113"/>
                <a:gd name="T55" fmla="*/ 79 h 112"/>
                <a:gd name="T56" fmla="*/ 14 w 113"/>
                <a:gd name="T57" fmla="*/ 88 h 112"/>
                <a:gd name="T58" fmla="*/ 14 w 113"/>
                <a:gd name="T59" fmla="*/ 93 h 112"/>
                <a:gd name="T60" fmla="*/ 19 w 113"/>
                <a:gd name="T61" fmla="*/ 98 h 112"/>
                <a:gd name="T62" fmla="*/ 25 w 113"/>
                <a:gd name="T63" fmla="*/ 98 h 112"/>
                <a:gd name="T64" fmla="*/ 34 w 113"/>
                <a:gd name="T65" fmla="*/ 91 h 112"/>
                <a:gd name="T66" fmla="*/ 48 w 113"/>
                <a:gd name="T67" fmla="*/ 97 h 112"/>
                <a:gd name="T68" fmla="*/ 49 w 113"/>
                <a:gd name="T69" fmla="*/ 108 h 112"/>
                <a:gd name="T70" fmla="*/ 53 w 113"/>
                <a:gd name="T71" fmla="*/ 112 h 112"/>
                <a:gd name="T72" fmla="*/ 60 w 113"/>
                <a:gd name="T73" fmla="*/ 112 h 112"/>
                <a:gd name="T74" fmla="*/ 64 w 113"/>
                <a:gd name="T75" fmla="*/ 108 h 112"/>
                <a:gd name="T76" fmla="*/ 65 w 113"/>
                <a:gd name="T77" fmla="*/ 97 h 112"/>
                <a:gd name="T78" fmla="*/ 79 w 113"/>
                <a:gd name="T79" fmla="*/ 91 h 112"/>
                <a:gd name="T80" fmla="*/ 88 w 113"/>
                <a:gd name="T81" fmla="*/ 98 h 112"/>
                <a:gd name="T82" fmla="*/ 94 w 113"/>
                <a:gd name="T83" fmla="*/ 98 h 112"/>
                <a:gd name="T84" fmla="*/ 99 w 113"/>
                <a:gd name="T85" fmla="*/ 93 h 112"/>
                <a:gd name="T86" fmla="*/ 99 w 113"/>
                <a:gd name="T87" fmla="*/ 88 h 112"/>
                <a:gd name="T88" fmla="*/ 91 w 113"/>
                <a:gd name="T89" fmla="*/ 79 h 112"/>
                <a:gd name="T90" fmla="*/ 97 w 113"/>
                <a:gd name="T91" fmla="*/ 65 h 112"/>
                <a:gd name="T92" fmla="*/ 109 w 113"/>
                <a:gd name="T93" fmla="*/ 64 h 112"/>
                <a:gd name="T94" fmla="*/ 113 w 113"/>
                <a:gd name="T95" fmla="*/ 60 h 112"/>
                <a:gd name="T96" fmla="*/ 113 w 113"/>
                <a:gd name="T97" fmla="*/ 53 h 112"/>
                <a:gd name="T98" fmla="*/ 56 w 113"/>
                <a:gd name="T99" fmla="*/ 79 h 112"/>
                <a:gd name="T100" fmla="*/ 34 w 113"/>
                <a:gd name="T101" fmla="*/ 56 h 112"/>
                <a:gd name="T102" fmla="*/ 56 w 113"/>
                <a:gd name="T103" fmla="*/ 34 h 112"/>
                <a:gd name="T104" fmla="*/ 79 w 113"/>
                <a:gd name="T105" fmla="*/ 56 h 112"/>
                <a:gd name="T106" fmla="*/ 56 w 113"/>
                <a:gd name="T107" fmla="*/ 7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 h="112">
                  <a:moveTo>
                    <a:pt x="113" y="53"/>
                  </a:moveTo>
                  <a:cubicBezTo>
                    <a:pt x="113" y="51"/>
                    <a:pt x="111" y="49"/>
                    <a:pt x="109" y="49"/>
                  </a:cubicBezTo>
                  <a:cubicBezTo>
                    <a:pt x="97" y="48"/>
                    <a:pt x="97" y="48"/>
                    <a:pt x="97" y="48"/>
                  </a:cubicBezTo>
                  <a:cubicBezTo>
                    <a:pt x="96" y="43"/>
                    <a:pt x="94" y="38"/>
                    <a:pt x="91" y="34"/>
                  </a:cubicBezTo>
                  <a:cubicBezTo>
                    <a:pt x="99" y="25"/>
                    <a:pt x="99" y="25"/>
                    <a:pt x="99" y="25"/>
                  </a:cubicBezTo>
                  <a:cubicBezTo>
                    <a:pt x="100" y="23"/>
                    <a:pt x="100" y="20"/>
                    <a:pt x="99" y="19"/>
                  </a:cubicBezTo>
                  <a:cubicBezTo>
                    <a:pt x="97" y="18"/>
                    <a:pt x="95" y="15"/>
                    <a:pt x="94" y="14"/>
                  </a:cubicBezTo>
                  <a:cubicBezTo>
                    <a:pt x="92" y="13"/>
                    <a:pt x="90" y="13"/>
                    <a:pt x="88" y="14"/>
                  </a:cubicBezTo>
                  <a:cubicBezTo>
                    <a:pt x="79" y="22"/>
                    <a:pt x="79" y="22"/>
                    <a:pt x="79" y="22"/>
                  </a:cubicBezTo>
                  <a:cubicBezTo>
                    <a:pt x="75" y="19"/>
                    <a:pt x="70" y="17"/>
                    <a:pt x="65" y="16"/>
                  </a:cubicBezTo>
                  <a:cubicBezTo>
                    <a:pt x="64" y="4"/>
                    <a:pt x="64" y="4"/>
                    <a:pt x="64" y="4"/>
                  </a:cubicBezTo>
                  <a:cubicBezTo>
                    <a:pt x="64" y="2"/>
                    <a:pt x="62" y="0"/>
                    <a:pt x="60" y="0"/>
                  </a:cubicBezTo>
                  <a:cubicBezTo>
                    <a:pt x="58" y="0"/>
                    <a:pt x="55" y="0"/>
                    <a:pt x="53" y="0"/>
                  </a:cubicBezTo>
                  <a:cubicBezTo>
                    <a:pt x="51" y="0"/>
                    <a:pt x="49" y="2"/>
                    <a:pt x="49" y="4"/>
                  </a:cubicBezTo>
                  <a:cubicBezTo>
                    <a:pt x="48" y="16"/>
                    <a:pt x="48" y="16"/>
                    <a:pt x="48" y="16"/>
                  </a:cubicBezTo>
                  <a:cubicBezTo>
                    <a:pt x="43" y="17"/>
                    <a:pt x="38" y="19"/>
                    <a:pt x="34" y="22"/>
                  </a:cubicBezTo>
                  <a:cubicBezTo>
                    <a:pt x="25" y="14"/>
                    <a:pt x="25" y="14"/>
                    <a:pt x="25" y="14"/>
                  </a:cubicBezTo>
                  <a:cubicBezTo>
                    <a:pt x="23" y="13"/>
                    <a:pt x="21" y="13"/>
                    <a:pt x="19" y="14"/>
                  </a:cubicBezTo>
                  <a:cubicBezTo>
                    <a:pt x="18" y="15"/>
                    <a:pt x="16" y="18"/>
                    <a:pt x="14" y="19"/>
                  </a:cubicBezTo>
                  <a:cubicBezTo>
                    <a:pt x="13" y="20"/>
                    <a:pt x="13" y="23"/>
                    <a:pt x="14" y="25"/>
                  </a:cubicBezTo>
                  <a:cubicBezTo>
                    <a:pt x="22" y="34"/>
                    <a:pt x="22" y="34"/>
                    <a:pt x="22" y="34"/>
                  </a:cubicBezTo>
                  <a:cubicBezTo>
                    <a:pt x="19" y="38"/>
                    <a:pt x="17" y="43"/>
                    <a:pt x="16" y="48"/>
                  </a:cubicBezTo>
                  <a:cubicBezTo>
                    <a:pt x="4" y="49"/>
                    <a:pt x="4" y="49"/>
                    <a:pt x="4" y="49"/>
                  </a:cubicBezTo>
                  <a:cubicBezTo>
                    <a:pt x="2" y="49"/>
                    <a:pt x="0" y="51"/>
                    <a:pt x="0" y="53"/>
                  </a:cubicBezTo>
                  <a:cubicBezTo>
                    <a:pt x="0" y="55"/>
                    <a:pt x="0" y="58"/>
                    <a:pt x="0" y="60"/>
                  </a:cubicBezTo>
                  <a:cubicBezTo>
                    <a:pt x="0" y="62"/>
                    <a:pt x="2" y="64"/>
                    <a:pt x="4" y="64"/>
                  </a:cubicBezTo>
                  <a:cubicBezTo>
                    <a:pt x="16" y="65"/>
                    <a:pt x="16" y="65"/>
                    <a:pt x="16" y="65"/>
                  </a:cubicBezTo>
                  <a:cubicBezTo>
                    <a:pt x="17" y="70"/>
                    <a:pt x="19" y="75"/>
                    <a:pt x="22" y="79"/>
                  </a:cubicBezTo>
                  <a:cubicBezTo>
                    <a:pt x="14" y="88"/>
                    <a:pt x="14" y="88"/>
                    <a:pt x="14" y="88"/>
                  </a:cubicBezTo>
                  <a:cubicBezTo>
                    <a:pt x="13" y="90"/>
                    <a:pt x="13" y="92"/>
                    <a:pt x="14" y="93"/>
                  </a:cubicBezTo>
                  <a:cubicBezTo>
                    <a:pt x="16" y="95"/>
                    <a:pt x="18" y="97"/>
                    <a:pt x="19" y="98"/>
                  </a:cubicBezTo>
                  <a:cubicBezTo>
                    <a:pt x="21" y="100"/>
                    <a:pt x="23" y="100"/>
                    <a:pt x="25" y="98"/>
                  </a:cubicBezTo>
                  <a:cubicBezTo>
                    <a:pt x="34" y="91"/>
                    <a:pt x="34" y="91"/>
                    <a:pt x="34" y="91"/>
                  </a:cubicBezTo>
                  <a:cubicBezTo>
                    <a:pt x="38" y="94"/>
                    <a:pt x="43" y="96"/>
                    <a:pt x="48" y="97"/>
                  </a:cubicBezTo>
                  <a:cubicBezTo>
                    <a:pt x="49" y="108"/>
                    <a:pt x="49" y="108"/>
                    <a:pt x="49" y="108"/>
                  </a:cubicBezTo>
                  <a:cubicBezTo>
                    <a:pt x="49" y="111"/>
                    <a:pt x="51" y="112"/>
                    <a:pt x="53" y="112"/>
                  </a:cubicBezTo>
                  <a:cubicBezTo>
                    <a:pt x="55" y="112"/>
                    <a:pt x="58" y="112"/>
                    <a:pt x="60" y="112"/>
                  </a:cubicBezTo>
                  <a:cubicBezTo>
                    <a:pt x="62" y="112"/>
                    <a:pt x="64" y="111"/>
                    <a:pt x="64" y="108"/>
                  </a:cubicBezTo>
                  <a:cubicBezTo>
                    <a:pt x="65" y="97"/>
                    <a:pt x="65" y="97"/>
                    <a:pt x="65" y="97"/>
                  </a:cubicBezTo>
                  <a:cubicBezTo>
                    <a:pt x="70" y="96"/>
                    <a:pt x="75" y="94"/>
                    <a:pt x="79" y="91"/>
                  </a:cubicBezTo>
                  <a:cubicBezTo>
                    <a:pt x="88" y="98"/>
                    <a:pt x="88" y="98"/>
                    <a:pt x="88" y="98"/>
                  </a:cubicBezTo>
                  <a:cubicBezTo>
                    <a:pt x="90" y="100"/>
                    <a:pt x="92" y="100"/>
                    <a:pt x="94" y="98"/>
                  </a:cubicBezTo>
                  <a:cubicBezTo>
                    <a:pt x="95" y="97"/>
                    <a:pt x="97" y="95"/>
                    <a:pt x="99" y="93"/>
                  </a:cubicBezTo>
                  <a:cubicBezTo>
                    <a:pt x="100" y="92"/>
                    <a:pt x="100" y="90"/>
                    <a:pt x="99" y="88"/>
                  </a:cubicBezTo>
                  <a:cubicBezTo>
                    <a:pt x="91" y="79"/>
                    <a:pt x="91" y="79"/>
                    <a:pt x="91" y="79"/>
                  </a:cubicBezTo>
                  <a:cubicBezTo>
                    <a:pt x="94" y="75"/>
                    <a:pt x="96" y="70"/>
                    <a:pt x="97" y="65"/>
                  </a:cubicBezTo>
                  <a:cubicBezTo>
                    <a:pt x="109" y="64"/>
                    <a:pt x="109" y="64"/>
                    <a:pt x="109" y="64"/>
                  </a:cubicBezTo>
                  <a:cubicBezTo>
                    <a:pt x="111" y="64"/>
                    <a:pt x="113" y="62"/>
                    <a:pt x="113" y="60"/>
                  </a:cubicBezTo>
                  <a:cubicBezTo>
                    <a:pt x="113" y="58"/>
                    <a:pt x="113" y="55"/>
                    <a:pt x="113" y="53"/>
                  </a:cubicBezTo>
                  <a:close/>
                  <a:moveTo>
                    <a:pt x="56" y="79"/>
                  </a:moveTo>
                  <a:cubicBezTo>
                    <a:pt x="44" y="79"/>
                    <a:pt x="34" y="69"/>
                    <a:pt x="34" y="56"/>
                  </a:cubicBezTo>
                  <a:cubicBezTo>
                    <a:pt x="34" y="44"/>
                    <a:pt x="44" y="34"/>
                    <a:pt x="56" y="34"/>
                  </a:cubicBezTo>
                  <a:cubicBezTo>
                    <a:pt x="69" y="34"/>
                    <a:pt x="79" y="44"/>
                    <a:pt x="79" y="56"/>
                  </a:cubicBezTo>
                  <a:cubicBezTo>
                    <a:pt x="79" y="69"/>
                    <a:pt x="69" y="79"/>
                    <a:pt x="56"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sp>
        <p:nvSpPr>
          <p:cNvPr id="6" name="Oval 5">
            <a:extLst>
              <a:ext uri="{FF2B5EF4-FFF2-40B4-BE49-F238E27FC236}">
                <a16:creationId xmlns:a16="http://schemas.microsoft.com/office/drawing/2014/main" id="{AB6D654A-CE6B-417E-ABF1-B0EC54E70F67}"/>
              </a:ext>
            </a:extLst>
          </p:cNvPr>
          <p:cNvSpPr/>
          <p:nvPr/>
        </p:nvSpPr>
        <p:spPr>
          <a:xfrm>
            <a:off x="1897998" y="2916714"/>
            <a:ext cx="504000" cy="50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a:p>
        </p:txBody>
      </p:sp>
      <p:sp>
        <p:nvSpPr>
          <p:cNvPr id="8" name="Rectangle 7">
            <a:extLst>
              <a:ext uri="{FF2B5EF4-FFF2-40B4-BE49-F238E27FC236}">
                <a16:creationId xmlns:a16="http://schemas.microsoft.com/office/drawing/2014/main" id="{347C629A-8607-4FFF-AAE7-83D18E384837}"/>
              </a:ext>
            </a:extLst>
          </p:cNvPr>
          <p:cNvSpPr/>
          <p:nvPr/>
        </p:nvSpPr>
        <p:spPr>
          <a:xfrm>
            <a:off x="2922344" y="2939435"/>
            <a:ext cx="7407359"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just"/>
            <a:r>
              <a:rPr lang="en-GB" dirty="0">
                <a:solidFill>
                  <a:schemeClr val="tx1"/>
                </a:solidFill>
              </a:rPr>
              <a:t>Capacity building for participatory planning – Union Council Development Planning</a:t>
            </a:r>
            <a:r>
              <a:rPr lang="en-US" dirty="0">
                <a:solidFill>
                  <a:schemeClr val="tx1"/>
                </a:solidFill>
              </a:rPr>
              <a:t>.</a:t>
            </a:r>
          </a:p>
        </p:txBody>
      </p:sp>
      <p:sp>
        <p:nvSpPr>
          <p:cNvPr id="16" name="Freeform 80">
            <a:extLst>
              <a:ext uri="{FF2B5EF4-FFF2-40B4-BE49-F238E27FC236}">
                <a16:creationId xmlns:a16="http://schemas.microsoft.com/office/drawing/2014/main" id="{E36402C0-A7CB-4B44-B91C-716B5AC2BC48}"/>
              </a:ext>
            </a:extLst>
          </p:cNvPr>
          <p:cNvSpPr>
            <a:spLocks noEditPoints="1"/>
          </p:cNvSpPr>
          <p:nvPr/>
        </p:nvSpPr>
        <p:spPr bwMode="auto">
          <a:xfrm>
            <a:off x="1918706" y="3042733"/>
            <a:ext cx="421409" cy="281421"/>
          </a:xfrm>
          <a:custGeom>
            <a:avLst/>
            <a:gdLst>
              <a:gd name="T0" fmla="*/ 1588 w 1619"/>
              <a:gd name="T1" fmla="*/ 953 h 1080"/>
              <a:gd name="T2" fmla="*/ 1408 w 1619"/>
              <a:gd name="T3" fmla="*/ 771 h 1080"/>
              <a:gd name="T4" fmla="*/ 1408 w 1619"/>
              <a:gd name="T5" fmla="*/ 31 h 1080"/>
              <a:gd name="T6" fmla="*/ 1374 w 1619"/>
              <a:gd name="T7" fmla="*/ 0 h 1080"/>
              <a:gd name="T8" fmla="*/ 245 w 1619"/>
              <a:gd name="T9" fmla="*/ 0 h 1080"/>
              <a:gd name="T10" fmla="*/ 211 w 1619"/>
              <a:gd name="T11" fmla="*/ 31 h 1080"/>
              <a:gd name="T12" fmla="*/ 211 w 1619"/>
              <a:gd name="T13" fmla="*/ 771 h 1080"/>
              <a:gd name="T14" fmla="*/ 31 w 1619"/>
              <a:gd name="T15" fmla="*/ 953 h 1080"/>
              <a:gd name="T16" fmla="*/ 1 w 1619"/>
              <a:gd name="T17" fmla="*/ 1018 h 1080"/>
              <a:gd name="T18" fmla="*/ 1 w 1619"/>
              <a:gd name="T19" fmla="*/ 1047 h 1080"/>
              <a:gd name="T20" fmla="*/ 48 w 1619"/>
              <a:gd name="T21" fmla="*/ 1076 h 1080"/>
              <a:gd name="T22" fmla="*/ 816 w 1619"/>
              <a:gd name="T23" fmla="*/ 1076 h 1080"/>
              <a:gd name="T24" fmla="*/ 1578 w 1619"/>
              <a:gd name="T25" fmla="*/ 1076 h 1080"/>
              <a:gd name="T26" fmla="*/ 1618 w 1619"/>
              <a:gd name="T27" fmla="*/ 1047 h 1080"/>
              <a:gd name="T28" fmla="*/ 1618 w 1619"/>
              <a:gd name="T29" fmla="*/ 1018 h 1080"/>
              <a:gd name="T30" fmla="*/ 1588 w 1619"/>
              <a:gd name="T31" fmla="*/ 953 h 1080"/>
              <a:gd name="T32" fmla="*/ 839 w 1619"/>
              <a:gd name="T33" fmla="*/ 970 h 1080"/>
              <a:gd name="T34" fmla="*/ 780 w 1619"/>
              <a:gd name="T35" fmla="*/ 970 h 1080"/>
              <a:gd name="T36" fmla="*/ 656 w 1619"/>
              <a:gd name="T37" fmla="*/ 970 h 1080"/>
              <a:gd name="T38" fmla="*/ 699 w 1619"/>
              <a:gd name="T39" fmla="*/ 896 h 1080"/>
              <a:gd name="T40" fmla="*/ 780 w 1619"/>
              <a:gd name="T41" fmla="*/ 896 h 1080"/>
              <a:gd name="T42" fmla="*/ 839 w 1619"/>
              <a:gd name="T43" fmla="*/ 896 h 1080"/>
              <a:gd name="T44" fmla="*/ 920 w 1619"/>
              <a:gd name="T45" fmla="*/ 896 h 1080"/>
              <a:gd name="T46" fmla="*/ 963 w 1619"/>
              <a:gd name="T47" fmla="*/ 970 h 1080"/>
              <a:gd name="T48" fmla="*/ 839 w 1619"/>
              <a:gd name="T49" fmla="*/ 970 h 1080"/>
              <a:gd name="T50" fmla="*/ 1301 w 1619"/>
              <a:gd name="T51" fmla="*/ 713 h 1080"/>
              <a:gd name="T52" fmla="*/ 318 w 1619"/>
              <a:gd name="T53" fmla="*/ 713 h 1080"/>
              <a:gd name="T54" fmla="*/ 318 w 1619"/>
              <a:gd name="T55" fmla="*/ 109 h 1080"/>
              <a:gd name="T56" fmla="*/ 1301 w 1619"/>
              <a:gd name="T57" fmla="*/ 109 h 1080"/>
              <a:gd name="T58" fmla="*/ 1301 w 1619"/>
              <a:gd name="T59" fmla="*/ 713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19" h="1080">
                <a:moveTo>
                  <a:pt x="1588" y="953"/>
                </a:moveTo>
                <a:cubicBezTo>
                  <a:pt x="1559" y="923"/>
                  <a:pt x="1420" y="784"/>
                  <a:pt x="1408" y="771"/>
                </a:cubicBezTo>
                <a:cubicBezTo>
                  <a:pt x="1408" y="31"/>
                  <a:pt x="1408" y="31"/>
                  <a:pt x="1408" y="31"/>
                </a:cubicBezTo>
                <a:cubicBezTo>
                  <a:pt x="1408" y="14"/>
                  <a:pt x="1393" y="0"/>
                  <a:pt x="1374" y="0"/>
                </a:cubicBezTo>
                <a:cubicBezTo>
                  <a:pt x="245" y="0"/>
                  <a:pt x="245" y="0"/>
                  <a:pt x="245" y="0"/>
                </a:cubicBezTo>
                <a:cubicBezTo>
                  <a:pt x="226" y="0"/>
                  <a:pt x="211" y="14"/>
                  <a:pt x="211" y="31"/>
                </a:cubicBezTo>
                <a:cubicBezTo>
                  <a:pt x="211" y="771"/>
                  <a:pt x="211" y="771"/>
                  <a:pt x="211" y="771"/>
                </a:cubicBezTo>
                <a:cubicBezTo>
                  <a:pt x="198" y="784"/>
                  <a:pt x="60" y="923"/>
                  <a:pt x="31" y="953"/>
                </a:cubicBezTo>
                <a:cubicBezTo>
                  <a:pt x="0" y="985"/>
                  <a:pt x="1" y="993"/>
                  <a:pt x="1" y="1018"/>
                </a:cubicBezTo>
                <a:cubicBezTo>
                  <a:pt x="1" y="1031"/>
                  <a:pt x="1" y="1031"/>
                  <a:pt x="1" y="1047"/>
                </a:cubicBezTo>
                <a:cubicBezTo>
                  <a:pt x="1" y="1080"/>
                  <a:pt x="48" y="1076"/>
                  <a:pt x="48" y="1076"/>
                </a:cubicBezTo>
                <a:cubicBezTo>
                  <a:pt x="816" y="1076"/>
                  <a:pt x="816" y="1076"/>
                  <a:pt x="816" y="1076"/>
                </a:cubicBezTo>
                <a:cubicBezTo>
                  <a:pt x="1578" y="1076"/>
                  <a:pt x="1578" y="1076"/>
                  <a:pt x="1578" y="1076"/>
                </a:cubicBezTo>
                <a:cubicBezTo>
                  <a:pt x="1578" y="1076"/>
                  <a:pt x="1618" y="1080"/>
                  <a:pt x="1618" y="1047"/>
                </a:cubicBezTo>
                <a:cubicBezTo>
                  <a:pt x="1618" y="1031"/>
                  <a:pt x="1618" y="1031"/>
                  <a:pt x="1618" y="1018"/>
                </a:cubicBezTo>
                <a:cubicBezTo>
                  <a:pt x="1618" y="993"/>
                  <a:pt x="1619" y="985"/>
                  <a:pt x="1588" y="953"/>
                </a:cubicBezTo>
                <a:close/>
                <a:moveTo>
                  <a:pt x="839" y="970"/>
                </a:moveTo>
                <a:cubicBezTo>
                  <a:pt x="780" y="970"/>
                  <a:pt x="780" y="970"/>
                  <a:pt x="780" y="970"/>
                </a:cubicBezTo>
                <a:cubicBezTo>
                  <a:pt x="656" y="970"/>
                  <a:pt x="656" y="970"/>
                  <a:pt x="656" y="970"/>
                </a:cubicBezTo>
                <a:cubicBezTo>
                  <a:pt x="699" y="896"/>
                  <a:pt x="699" y="896"/>
                  <a:pt x="699" y="896"/>
                </a:cubicBezTo>
                <a:cubicBezTo>
                  <a:pt x="780" y="896"/>
                  <a:pt x="780" y="896"/>
                  <a:pt x="780" y="896"/>
                </a:cubicBezTo>
                <a:cubicBezTo>
                  <a:pt x="839" y="896"/>
                  <a:pt x="839" y="896"/>
                  <a:pt x="839" y="896"/>
                </a:cubicBezTo>
                <a:cubicBezTo>
                  <a:pt x="920" y="896"/>
                  <a:pt x="920" y="896"/>
                  <a:pt x="920" y="896"/>
                </a:cubicBezTo>
                <a:cubicBezTo>
                  <a:pt x="963" y="970"/>
                  <a:pt x="963" y="970"/>
                  <a:pt x="963" y="970"/>
                </a:cubicBezTo>
                <a:lnTo>
                  <a:pt x="839" y="970"/>
                </a:lnTo>
                <a:close/>
                <a:moveTo>
                  <a:pt x="1301" y="713"/>
                </a:moveTo>
                <a:cubicBezTo>
                  <a:pt x="318" y="713"/>
                  <a:pt x="318" y="713"/>
                  <a:pt x="318" y="713"/>
                </a:cubicBezTo>
                <a:cubicBezTo>
                  <a:pt x="318" y="109"/>
                  <a:pt x="318" y="109"/>
                  <a:pt x="318" y="109"/>
                </a:cubicBezTo>
                <a:cubicBezTo>
                  <a:pt x="1301" y="109"/>
                  <a:pt x="1301" y="109"/>
                  <a:pt x="1301" y="109"/>
                </a:cubicBezTo>
                <a:lnTo>
                  <a:pt x="1301" y="7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a:p>
        </p:txBody>
      </p:sp>
      <p:sp>
        <p:nvSpPr>
          <p:cNvPr id="9" name="Oval 8">
            <a:extLst>
              <a:ext uri="{FF2B5EF4-FFF2-40B4-BE49-F238E27FC236}">
                <a16:creationId xmlns:a16="http://schemas.microsoft.com/office/drawing/2014/main" id="{AB6D654A-CE6B-417E-ABF1-B0EC54E70F67}"/>
              </a:ext>
            </a:extLst>
          </p:cNvPr>
          <p:cNvSpPr/>
          <p:nvPr/>
        </p:nvSpPr>
        <p:spPr>
          <a:xfrm>
            <a:off x="1918705" y="3670095"/>
            <a:ext cx="504000" cy="50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a:p>
        </p:txBody>
      </p:sp>
      <p:sp>
        <p:nvSpPr>
          <p:cNvPr id="10" name="Rectangle 9">
            <a:extLst>
              <a:ext uri="{FF2B5EF4-FFF2-40B4-BE49-F238E27FC236}">
                <a16:creationId xmlns:a16="http://schemas.microsoft.com/office/drawing/2014/main" id="{43750263-56BD-4641-84E6-FCF9426B3389}"/>
              </a:ext>
            </a:extLst>
          </p:cNvPr>
          <p:cNvSpPr/>
          <p:nvPr/>
        </p:nvSpPr>
        <p:spPr>
          <a:xfrm>
            <a:off x="2922345" y="3715554"/>
            <a:ext cx="750784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just"/>
            <a:r>
              <a:rPr lang="en-US" dirty="0">
                <a:solidFill>
                  <a:schemeClr val="tx1"/>
                </a:solidFill>
              </a:rPr>
              <a:t>Strengthening community organization and capacity building. </a:t>
            </a:r>
          </a:p>
        </p:txBody>
      </p:sp>
      <p:grpSp>
        <p:nvGrpSpPr>
          <p:cNvPr id="17" name="Group 16">
            <a:extLst>
              <a:ext uri="{FF2B5EF4-FFF2-40B4-BE49-F238E27FC236}">
                <a16:creationId xmlns:a16="http://schemas.microsoft.com/office/drawing/2014/main" id="{AB4DE7A9-9E81-4DF9-8572-C4FEE520A30E}"/>
              </a:ext>
            </a:extLst>
          </p:cNvPr>
          <p:cNvGrpSpPr/>
          <p:nvPr/>
        </p:nvGrpSpPr>
        <p:grpSpPr>
          <a:xfrm>
            <a:off x="1974366" y="3746944"/>
            <a:ext cx="397634" cy="321524"/>
            <a:chOff x="1741488" y="796925"/>
            <a:chExt cx="1139825" cy="736600"/>
          </a:xfrm>
          <a:solidFill>
            <a:schemeClr val="bg1"/>
          </a:solidFill>
        </p:grpSpPr>
        <p:sp>
          <p:nvSpPr>
            <p:cNvPr id="18" name="Freeform 6">
              <a:extLst>
                <a:ext uri="{FF2B5EF4-FFF2-40B4-BE49-F238E27FC236}">
                  <a16:creationId xmlns:a16="http://schemas.microsoft.com/office/drawing/2014/main" id="{8725EDE6-720A-4DC3-B012-A8382F4AD00E}"/>
                </a:ext>
              </a:extLst>
            </p:cNvPr>
            <p:cNvSpPr>
              <a:spLocks/>
            </p:cNvSpPr>
            <p:nvPr/>
          </p:nvSpPr>
          <p:spPr bwMode="auto">
            <a:xfrm>
              <a:off x="2482851" y="882650"/>
              <a:ext cx="271463" cy="273050"/>
            </a:xfrm>
            <a:custGeom>
              <a:avLst/>
              <a:gdLst>
                <a:gd name="T0" fmla="*/ 29 w 95"/>
                <a:gd name="T1" fmla="*/ 75 h 96"/>
                <a:gd name="T2" fmla="*/ 27 w 95"/>
                <a:gd name="T3" fmla="*/ 92 h 96"/>
                <a:gd name="T4" fmla="*/ 47 w 95"/>
                <a:gd name="T5" fmla="*/ 96 h 96"/>
                <a:gd name="T6" fmla="*/ 68 w 95"/>
                <a:gd name="T7" fmla="*/ 92 h 96"/>
                <a:gd name="T8" fmla="*/ 67 w 95"/>
                <a:gd name="T9" fmla="*/ 75 h 96"/>
                <a:gd name="T10" fmla="*/ 68 w 95"/>
                <a:gd name="T11" fmla="*/ 73 h 96"/>
                <a:gd name="T12" fmla="*/ 48 w 95"/>
                <a:gd name="T13" fmla="*/ 0 h 96"/>
                <a:gd name="T14" fmla="*/ 27 w 95"/>
                <a:gd name="T15" fmla="*/ 73 h 96"/>
                <a:gd name="T16" fmla="*/ 29 w 95"/>
                <a:gd name="T1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96">
                  <a:moveTo>
                    <a:pt x="29" y="75"/>
                  </a:moveTo>
                  <a:cubicBezTo>
                    <a:pt x="31" y="78"/>
                    <a:pt x="35" y="86"/>
                    <a:pt x="27" y="92"/>
                  </a:cubicBezTo>
                  <a:cubicBezTo>
                    <a:pt x="32" y="94"/>
                    <a:pt x="39" y="96"/>
                    <a:pt x="47" y="96"/>
                  </a:cubicBezTo>
                  <a:cubicBezTo>
                    <a:pt x="56" y="96"/>
                    <a:pt x="63" y="94"/>
                    <a:pt x="68" y="92"/>
                  </a:cubicBezTo>
                  <a:cubicBezTo>
                    <a:pt x="60" y="86"/>
                    <a:pt x="64" y="78"/>
                    <a:pt x="67" y="75"/>
                  </a:cubicBezTo>
                  <a:cubicBezTo>
                    <a:pt x="67" y="74"/>
                    <a:pt x="68" y="74"/>
                    <a:pt x="68" y="73"/>
                  </a:cubicBezTo>
                  <a:cubicBezTo>
                    <a:pt x="83" y="58"/>
                    <a:pt x="95" y="0"/>
                    <a:pt x="48" y="0"/>
                  </a:cubicBezTo>
                  <a:cubicBezTo>
                    <a:pt x="0" y="0"/>
                    <a:pt x="12" y="58"/>
                    <a:pt x="27" y="73"/>
                  </a:cubicBezTo>
                  <a:cubicBezTo>
                    <a:pt x="28" y="74"/>
                    <a:pt x="28" y="74"/>
                    <a:pt x="29"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9" name="Freeform 7">
              <a:extLst>
                <a:ext uri="{FF2B5EF4-FFF2-40B4-BE49-F238E27FC236}">
                  <a16:creationId xmlns:a16="http://schemas.microsoft.com/office/drawing/2014/main" id="{A640F024-FC26-4465-A307-4BBAF8EBF0F6}"/>
                </a:ext>
              </a:extLst>
            </p:cNvPr>
            <p:cNvSpPr>
              <a:spLocks/>
            </p:cNvSpPr>
            <p:nvPr/>
          </p:nvSpPr>
          <p:spPr bwMode="auto">
            <a:xfrm>
              <a:off x="1868488" y="882650"/>
              <a:ext cx="271463" cy="273050"/>
            </a:xfrm>
            <a:custGeom>
              <a:avLst/>
              <a:gdLst>
                <a:gd name="T0" fmla="*/ 29 w 95"/>
                <a:gd name="T1" fmla="*/ 75 h 96"/>
                <a:gd name="T2" fmla="*/ 27 w 95"/>
                <a:gd name="T3" fmla="*/ 92 h 96"/>
                <a:gd name="T4" fmla="*/ 47 w 95"/>
                <a:gd name="T5" fmla="*/ 96 h 96"/>
                <a:gd name="T6" fmla="*/ 68 w 95"/>
                <a:gd name="T7" fmla="*/ 92 h 96"/>
                <a:gd name="T8" fmla="*/ 66 w 95"/>
                <a:gd name="T9" fmla="*/ 75 h 96"/>
                <a:gd name="T10" fmla="*/ 68 w 95"/>
                <a:gd name="T11" fmla="*/ 73 h 96"/>
                <a:gd name="T12" fmla="*/ 48 w 95"/>
                <a:gd name="T13" fmla="*/ 0 h 96"/>
                <a:gd name="T14" fmla="*/ 27 w 95"/>
                <a:gd name="T15" fmla="*/ 73 h 96"/>
                <a:gd name="T16" fmla="*/ 29 w 95"/>
                <a:gd name="T1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96">
                  <a:moveTo>
                    <a:pt x="29" y="75"/>
                  </a:moveTo>
                  <a:cubicBezTo>
                    <a:pt x="31" y="78"/>
                    <a:pt x="35" y="86"/>
                    <a:pt x="27" y="92"/>
                  </a:cubicBezTo>
                  <a:cubicBezTo>
                    <a:pt x="32" y="94"/>
                    <a:pt x="39" y="96"/>
                    <a:pt x="47" y="96"/>
                  </a:cubicBezTo>
                  <a:cubicBezTo>
                    <a:pt x="56" y="96"/>
                    <a:pt x="63" y="94"/>
                    <a:pt x="68" y="92"/>
                  </a:cubicBezTo>
                  <a:cubicBezTo>
                    <a:pt x="60" y="86"/>
                    <a:pt x="64" y="78"/>
                    <a:pt x="66" y="75"/>
                  </a:cubicBezTo>
                  <a:cubicBezTo>
                    <a:pt x="67" y="74"/>
                    <a:pt x="67" y="74"/>
                    <a:pt x="68" y="73"/>
                  </a:cubicBezTo>
                  <a:cubicBezTo>
                    <a:pt x="83" y="58"/>
                    <a:pt x="95" y="0"/>
                    <a:pt x="48" y="0"/>
                  </a:cubicBezTo>
                  <a:cubicBezTo>
                    <a:pt x="0" y="0"/>
                    <a:pt x="12" y="58"/>
                    <a:pt x="27" y="73"/>
                  </a:cubicBezTo>
                  <a:cubicBezTo>
                    <a:pt x="28" y="74"/>
                    <a:pt x="28" y="74"/>
                    <a:pt x="29"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0" name="Freeform 8">
              <a:extLst>
                <a:ext uri="{FF2B5EF4-FFF2-40B4-BE49-F238E27FC236}">
                  <a16:creationId xmlns:a16="http://schemas.microsoft.com/office/drawing/2014/main" id="{2E388480-BCE7-49CC-9FCF-4E960CE236D4}"/>
                </a:ext>
              </a:extLst>
            </p:cNvPr>
            <p:cNvSpPr>
              <a:spLocks/>
            </p:cNvSpPr>
            <p:nvPr/>
          </p:nvSpPr>
          <p:spPr bwMode="auto">
            <a:xfrm>
              <a:off x="2597151" y="1198563"/>
              <a:ext cx="49213" cy="33338"/>
            </a:xfrm>
            <a:custGeom>
              <a:avLst/>
              <a:gdLst>
                <a:gd name="T0" fmla="*/ 2 w 17"/>
                <a:gd name="T1" fmla="*/ 0 h 12"/>
                <a:gd name="T2" fmla="*/ 0 w 17"/>
                <a:gd name="T3" fmla="*/ 0 h 12"/>
                <a:gd name="T4" fmla="*/ 11 w 17"/>
                <a:gd name="T5" fmla="*/ 12 h 12"/>
                <a:gd name="T6" fmla="*/ 15 w 17"/>
                <a:gd name="T7" fmla="*/ 4 h 12"/>
                <a:gd name="T8" fmla="*/ 13 w 17"/>
                <a:gd name="T9" fmla="*/ 0 h 12"/>
                <a:gd name="T10" fmla="*/ 2 w 17"/>
                <a:gd name="T11" fmla="*/ 0 h 12"/>
              </a:gdLst>
              <a:ahLst/>
              <a:cxnLst>
                <a:cxn ang="0">
                  <a:pos x="T0" y="T1"/>
                </a:cxn>
                <a:cxn ang="0">
                  <a:pos x="T2" y="T3"/>
                </a:cxn>
                <a:cxn ang="0">
                  <a:pos x="T4" y="T5"/>
                </a:cxn>
                <a:cxn ang="0">
                  <a:pos x="T6" y="T7"/>
                </a:cxn>
                <a:cxn ang="0">
                  <a:pos x="T8" y="T9"/>
                </a:cxn>
                <a:cxn ang="0">
                  <a:pos x="T10" y="T11"/>
                </a:cxn>
              </a:cxnLst>
              <a:rect l="0" t="0" r="r" b="b"/>
              <a:pathLst>
                <a:path w="17" h="12">
                  <a:moveTo>
                    <a:pt x="2" y="0"/>
                  </a:moveTo>
                  <a:cubicBezTo>
                    <a:pt x="1" y="0"/>
                    <a:pt x="1" y="0"/>
                    <a:pt x="0" y="0"/>
                  </a:cubicBezTo>
                  <a:cubicBezTo>
                    <a:pt x="4" y="4"/>
                    <a:pt x="7" y="8"/>
                    <a:pt x="11" y="12"/>
                  </a:cubicBezTo>
                  <a:cubicBezTo>
                    <a:pt x="15" y="4"/>
                    <a:pt x="15" y="4"/>
                    <a:pt x="15" y="4"/>
                  </a:cubicBezTo>
                  <a:cubicBezTo>
                    <a:pt x="17" y="2"/>
                    <a:pt x="15" y="0"/>
                    <a:pt x="13"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1" name="Freeform 9">
              <a:extLst>
                <a:ext uri="{FF2B5EF4-FFF2-40B4-BE49-F238E27FC236}">
                  <a16:creationId xmlns:a16="http://schemas.microsoft.com/office/drawing/2014/main" id="{BE046188-9899-4C0C-96E1-7AF36134844C}"/>
                </a:ext>
              </a:extLst>
            </p:cNvPr>
            <p:cNvSpPr>
              <a:spLocks/>
            </p:cNvSpPr>
            <p:nvPr/>
          </p:nvSpPr>
          <p:spPr bwMode="auto">
            <a:xfrm>
              <a:off x="2662238" y="1155700"/>
              <a:ext cx="219075" cy="288925"/>
            </a:xfrm>
            <a:custGeom>
              <a:avLst/>
              <a:gdLst>
                <a:gd name="T0" fmla="*/ 13 w 77"/>
                <a:gd name="T1" fmla="*/ 0 h 102"/>
                <a:gd name="T2" fmla="*/ 0 w 77"/>
                <a:gd name="T3" fmla="*/ 48 h 102"/>
                <a:gd name="T4" fmla="*/ 9 w 77"/>
                <a:gd name="T5" fmla="*/ 101 h 102"/>
                <a:gd name="T6" fmla="*/ 9 w 77"/>
                <a:gd name="T7" fmla="*/ 102 h 102"/>
                <a:gd name="T8" fmla="*/ 77 w 77"/>
                <a:gd name="T9" fmla="*/ 79 h 102"/>
                <a:gd name="T10" fmla="*/ 13 w 77"/>
                <a:gd name="T11" fmla="*/ 0 h 102"/>
              </a:gdLst>
              <a:ahLst/>
              <a:cxnLst>
                <a:cxn ang="0">
                  <a:pos x="T0" y="T1"/>
                </a:cxn>
                <a:cxn ang="0">
                  <a:pos x="T2" y="T3"/>
                </a:cxn>
                <a:cxn ang="0">
                  <a:pos x="T4" y="T5"/>
                </a:cxn>
                <a:cxn ang="0">
                  <a:pos x="T6" y="T7"/>
                </a:cxn>
                <a:cxn ang="0">
                  <a:pos x="T8" y="T9"/>
                </a:cxn>
                <a:cxn ang="0">
                  <a:pos x="T10" y="T11"/>
                </a:cxn>
              </a:cxnLst>
              <a:rect l="0" t="0" r="r" b="b"/>
              <a:pathLst>
                <a:path w="77" h="102">
                  <a:moveTo>
                    <a:pt x="13" y="0"/>
                  </a:moveTo>
                  <a:cubicBezTo>
                    <a:pt x="0" y="48"/>
                    <a:pt x="0" y="48"/>
                    <a:pt x="0" y="48"/>
                  </a:cubicBezTo>
                  <a:cubicBezTo>
                    <a:pt x="6" y="64"/>
                    <a:pt x="9" y="81"/>
                    <a:pt x="9" y="101"/>
                  </a:cubicBezTo>
                  <a:cubicBezTo>
                    <a:pt x="9" y="101"/>
                    <a:pt x="9" y="102"/>
                    <a:pt x="9" y="102"/>
                  </a:cubicBezTo>
                  <a:cubicBezTo>
                    <a:pt x="36" y="100"/>
                    <a:pt x="77" y="95"/>
                    <a:pt x="77" y="79"/>
                  </a:cubicBezTo>
                  <a:cubicBezTo>
                    <a:pt x="77" y="21"/>
                    <a:pt x="39" y="5"/>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2" name="Freeform 10">
              <a:extLst>
                <a:ext uri="{FF2B5EF4-FFF2-40B4-BE49-F238E27FC236}">
                  <a16:creationId xmlns:a16="http://schemas.microsoft.com/office/drawing/2014/main" id="{05FBCE83-F854-4657-B086-2595F9110A82}"/>
                </a:ext>
              </a:extLst>
            </p:cNvPr>
            <p:cNvSpPr>
              <a:spLocks/>
            </p:cNvSpPr>
            <p:nvPr/>
          </p:nvSpPr>
          <p:spPr bwMode="auto">
            <a:xfrm>
              <a:off x="1976438" y="1198563"/>
              <a:ext cx="46038" cy="33338"/>
            </a:xfrm>
            <a:custGeom>
              <a:avLst/>
              <a:gdLst>
                <a:gd name="T0" fmla="*/ 1 w 16"/>
                <a:gd name="T1" fmla="*/ 4 h 12"/>
                <a:gd name="T2" fmla="*/ 6 w 16"/>
                <a:gd name="T3" fmla="*/ 12 h 12"/>
                <a:gd name="T4" fmla="*/ 16 w 16"/>
                <a:gd name="T5" fmla="*/ 0 h 12"/>
                <a:gd name="T6" fmla="*/ 15 w 16"/>
                <a:gd name="T7" fmla="*/ 0 h 12"/>
                <a:gd name="T8" fmla="*/ 4 w 16"/>
                <a:gd name="T9" fmla="*/ 0 h 12"/>
                <a:gd name="T10" fmla="*/ 1 w 16"/>
                <a:gd name="T11" fmla="*/ 4 h 12"/>
              </a:gdLst>
              <a:ahLst/>
              <a:cxnLst>
                <a:cxn ang="0">
                  <a:pos x="T0" y="T1"/>
                </a:cxn>
                <a:cxn ang="0">
                  <a:pos x="T2" y="T3"/>
                </a:cxn>
                <a:cxn ang="0">
                  <a:pos x="T4" y="T5"/>
                </a:cxn>
                <a:cxn ang="0">
                  <a:pos x="T6" y="T7"/>
                </a:cxn>
                <a:cxn ang="0">
                  <a:pos x="T8" y="T9"/>
                </a:cxn>
                <a:cxn ang="0">
                  <a:pos x="T10" y="T11"/>
                </a:cxn>
              </a:cxnLst>
              <a:rect l="0" t="0" r="r" b="b"/>
              <a:pathLst>
                <a:path w="16" h="12">
                  <a:moveTo>
                    <a:pt x="1" y="4"/>
                  </a:moveTo>
                  <a:cubicBezTo>
                    <a:pt x="6" y="12"/>
                    <a:pt x="6" y="12"/>
                    <a:pt x="6" y="12"/>
                  </a:cubicBezTo>
                  <a:cubicBezTo>
                    <a:pt x="9" y="8"/>
                    <a:pt x="12" y="4"/>
                    <a:pt x="16" y="0"/>
                  </a:cubicBezTo>
                  <a:cubicBezTo>
                    <a:pt x="15" y="0"/>
                    <a:pt x="15" y="0"/>
                    <a:pt x="15" y="0"/>
                  </a:cubicBezTo>
                  <a:cubicBezTo>
                    <a:pt x="4" y="0"/>
                    <a:pt x="4" y="0"/>
                    <a:pt x="4" y="0"/>
                  </a:cubicBezTo>
                  <a:cubicBezTo>
                    <a:pt x="1" y="0"/>
                    <a:pt x="0" y="2"/>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3" name="Freeform 11">
              <a:extLst>
                <a:ext uri="{FF2B5EF4-FFF2-40B4-BE49-F238E27FC236}">
                  <a16:creationId xmlns:a16="http://schemas.microsoft.com/office/drawing/2014/main" id="{5A407A3D-5B8E-42AB-9A69-EC02271D8AFD}"/>
                </a:ext>
              </a:extLst>
            </p:cNvPr>
            <p:cNvSpPr>
              <a:spLocks/>
            </p:cNvSpPr>
            <p:nvPr/>
          </p:nvSpPr>
          <p:spPr bwMode="auto">
            <a:xfrm>
              <a:off x="1741488" y="1155700"/>
              <a:ext cx="219075" cy="288925"/>
            </a:xfrm>
            <a:custGeom>
              <a:avLst/>
              <a:gdLst>
                <a:gd name="T0" fmla="*/ 63 w 77"/>
                <a:gd name="T1" fmla="*/ 0 h 102"/>
                <a:gd name="T2" fmla="*/ 0 w 77"/>
                <a:gd name="T3" fmla="*/ 79 h 102"/>
                <a:gd name="T4" fmla="*/ 67 w 77"/>
                <a:gd name="T5" fmla="*/ 102 h 102"/>
                <a:gd name="T6" fmla="*/ 67 w 77"/>
                <a:gd name="T7" fmla="*/ 101 h 102"/>
                <a:gd name="T8" fmla="*/ 77 w 77"/>
                <a:gd name="T9" fmla="*/ 47 h 102"/>
                <a:gd name="T10" fmla="*/ 63 w 77"/>
                <a:gd name="T11" fmla="*/ 0 h 102"/>
              </a:gdLst>
              <a:ahLst/>
              <a:cxnLst>
                <a:cxn ang="0">
                  <a:pos x="T0" y="T1"/>
                </a:cxn>
                <a:cxn ang="0">
                  <a:pos x="T2" y="T3"/>
                </a:cxn>
                <a:cxn ang="0">
                  <a:pos x="T4" y="T5"/>
                </a:cxn>
                <a:cxn ang="0">
                  <a:pos x="T6" y="T7"/>
                </a:cxn>
                <a:cxn ang="0">
                  <a:pos x="T8" y="T9"/>
                </a:cxn>
                <a:cxn ang="0">
                  <a:pos x="T10" y="T11"/>
                </a:cxn>
              </a:cxnLst>
              <a:rect l="0" t="0" r="r" b="b"/>
              <a:pathLst>
                <a:path w="77" h="102">
                  <a:moveTo>
                    <a:pt x="63" y="0"/>
                  </a:moveTo>
                  <a:cubicBezTo>
                    <a:pt x="38" y="5"/>
                    <a:pt x="0" y="21"/>
                    <a:pt x="0" y="79"/>
                  </a:cubicBezTo>
                  <a:cubicBezTo>
                    <a:pt x="0" y="95"/>
                    <a:pt x="39" y="100"/>
                    <a:pt x="67" y="102"/>
                  </a:cubicBezTo>
                  <a:cubicBezTo>
                    <a:pt x="67" y="102"/>
                    <a:pt x="67" y="101"/>
                    <a:pt x="67" y="101"/>
                  </a:cubicBezTo>
                  <a:cubicBezTo>
                    <a:pt x="67" y="81"/>
                    <a:pt x="70" y="63"/>
                    <a:pt x="77" y="47"/>
                  </a:cubicBezTo>
                  <a:lnTo>
                    <a:pt x="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nvGrpSpPr>
            <p:cNvPr id="24" name="Group 23">
              <a:extLst>
                <a:ext uri="{FF2B5EF4-FFF2-40B4-BE49-F238E27FC236}">
                  <a16:creationId xmlns:a16="http://schemas.microsoft.com/office/drawing/2014/main" id="{8073BAA6-7D79-4631-8601-3371A1586F6B}"/>
                </a:ext>
              </a:extLst>
            </p:cNvPr>
            <p:cNvGrpSpPr/>
            <p:nvPr/>
          </p:nvGrpSpPr>
          <p:grpSpPr>
            <a:xfrm>
              <a:off x="1968501" y="796925"/>
              <a:ext cx="679450" cy="736600"/>
              <a:chOff x="1968501" y="796925"/>
              <a:chExt cx="679450" cy="736600"/>
            </a:xfrm>
            <a:grpFill/>
          </p:grpSpPr>
          <p:sp>
            <p:nvSpPr>
              <p:cNvPr id="25" name="Freeform 12">
                <a:extLst>
                  <a:ext uri="{FF2B5EF4-FFF2-40B4-BE49-F238E27FC236}">
                    <a16:creationId xmlns:a16="http://schemas.microsoft.com/office/drawing/2014/main" id="{D481E061-6DBE-47E9-96EC-D9B0245AAE3B}"/>
                  </a:ext>
                </a:extLst>
              </p:cNvPr>
              <p:cNvSpPr>
                <a:spLocks/>
              </p:cNvSpPr>
              <p:nvPr/>
            </p:nvSpPr>
            <p:spPr bwMode="auto">
              <a:xfrm>
                <a:off x="2133601" y="796925"/>
                <a:ext cx="349250" cy="355600"/>
              </a:xfrm>
              <a:custGeom>
                <a:avLst/>
                <a:gdLst>
                  <a:gd name="T0" fmla="*/ 37 w 123"/>
                  <a:gd name="T1" fmla="*/ 98 h 125"/>
                  <a:gd name="T2" fmla="*/ 35 w 123"/>
                  <a:gd name="T3" fmla="*/ 120 h 125"/>
                  <a:gd name="T4" fmla="*/ 61 w 123"/>
                  <a:gd name="T5" fmla="*/ 125 h 125"/>
                  <a:gd name="T6" fmla="*/ 88 w 123"/>
                  <a:gd name="T7" fmla="*/ 120 h 125"/>
                  <a:gd name="T8" fmla="*/ 86 w 123"/>
                  <a:gd name="T9" fmla="*/ 98 h 125"/>
                  <a:gd name="T10" fmla="*/ 88 w 123"/>
                  <a:gd name="T11" fmla="*/ 96 h 125"/>
                  <a:gd name="T12" fmla="*/ 62 w 123"/>
                  <a:gd name="T13" fmla="*/ 0 h 125"/>
                  <a:gd name="T14" fmla="*/ 35 w 123"/>
                  <a:gd name="T15" fmla="*/ 96 h 125"/>
                  <a:gd name="T16" fmla="*/ 37 w 123"/>
                  <a:gd name="T17" fmla="*/ 9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25">
                    <a:moveTo>
                      <a:pt x="37" y="98"/>
                    </a:moveTo>
                    <a:cubicBezTo>
                      <a:pt x="40" y="102"/>
                      <a:pt x="45" y="112"/>
                      <a:pt x="35" y="120"/>
                    </a:cubicBezTo>
                    <a:cubicBezTo>
                      <a:pt x="41" y="123"/>
                      <a:pt x="50" y="125"/>
                      <a:pt x="61" y="125"/>
                    </a:cubicBezTo>
                    <a:cubicBezTo>
                      <a:pt x="72" y="125"/>
                      <a:pt x="81" y="123"/>
                      <a:pt x="88" y="120"/>
                    </a:cubicBezTo>
                    <a:cubicBezTo>
                      <a:pt x="78" y="112"/>
                      <a:pt x="83" y="102"/>
                      <a:pt x="86" y="98"/>
                    </a:cubicBezTo>
                    <a:cubicBezTo>
                      <a:pt x="87" y="97"/>
                      <a:pt x="87" y="96"/>
                      <a:pt x="88" y="96"/>
                    </a:cubicBezTo>
                    <a:cubicBezTo>
                      <a:pt x="107" y="76"/>
                      <a:pt x="123" y="0"/>
                      <a:pt x="62" y="0"/>
                    </a:cubicBezTo>
                    <a:cubicBezTo>
                      <a:pt x="0" y="0"/>
                      <a:pt x="16" y="76"/>
                      <a:pt x="35" y="96"/>
                    </a:cubicBezTo>
                    <a:cubicBezTo>
                      <a:pt x="36" y="96"/>
                      <a:pt x="37" y="97"/>
                      <a:pt x="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6" name="Freeform 13">
                <a:extLst>
                  <a:ext uri="{FF2B5EF4-FFF2-40B4-BE49-F238E27FC236}">
                    <a16:creationId xmlns:a16="http://schemas.microsoft.com/office/drawing/2014/main" id="{03C58607-91C1-4C70-84A9-6D3711E0EFEF}"/>
                  </a:ext>
                </a:extLst>
              </p:cNvPr>
              <p:cNvSpPr>
                <a:spLocks/>
              </p:cNvSpPr>
              <p:nvPr/>
            </p:nvSpPr>
            <p:spPr bwMode="auto">
              <a:xfrm>
                <a:off x="1968501" y="1152525"/>
                <a:ext cx="679450" cy="381000"/>
              </a:xfrm>
              <a:custGeom>
                <a:avLst/>
                <a:gdLst>
                  <a:gd name="T0" fmla="*/ 156 w 239"/>
                  <a:gd name="T1" fmla="*/ 0 h 134"/>
                  <a:gd name="T2" fmla="*/ 134 w 239"/>
                  <a:gd name="T3" fmla="*/ 81 h 134"/>
                  <a:gd name="T4" fmla="*/ 123 w 239"/>
                  <a:gd name="T5" fmla="*/ 36 h 134"/>
                  <a:gd name="T6" fmla="*/ 123 w 239"/>
                  <a:gd name="T7" fmla="*/ 36 h 134"/>
                  <a:gd name="T8" fmla="*/ 129 w 239"/>
                  <a:gd name="T9" fmla="*/ 25 h 134"/>
                  <a:gd name="T10" fmla="*/ 126 w 239"/>
                  <a:gd name="T11" fmla="*/ 19 h 134"/>
                  <a:gd name="T12" fmla="*/ 112 w 239"/>
                  <a:gd name="T13" fmla="*/ 19 h 134"/>
                  <a:gd name="T14" fmla="*/ 109 w 239"/>
                  <a:gd name="T15" fmla="*/ 25 h 134"/>
                  <a:gd name="T16" fmla="*/ 115 w 239"/>
                  <a:gd name="T17" fmla="*/ 36 h 134"/>
                  <a:gd name="T18" fmla="*/ 115 w 239"/>
                  <a:gd name="T19" fmla="*/ 36 h 134"/>
                  <a:gd name="T20" fmla="*/ 105 w 239"/>
                  <a:gd name="T21" fmla="*/ 81 h 134"/>
                  <a:gd name="T22" fmla="*/ 82 w 239"/>
                  <a:gd name="T23" fmla="*/ 0 h 134"/>
                  <a:gd name="T24" fmla="*/ 0 w 239"/>
                  <a:gd name="T25" fmla="*/ 102 h 134"/>
                  <a:gd name="T26" fmla="*/ 120 w 239"/>
                  <a:gd name="T27" fmla="*/ 133 h 134"/>
                  <a:gd name="T28" fmla="*/ 239 w 239"/>
                  <a:gd name="T29" fmla="*/ 102 h 134"/>
                  <a:gd name="T30" fmla="*/ 156 w 239"/>
                  <a:gd name="T3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34">
                    <a:moveTo>
                      <a:pt x="156" y="0"/>
                    </a:moveTo>
                    <a:cubicBezTo>
                      <a:pt x="134" y="81"/>
                      <a:pt x="134" y="81"/>
                      <a:pt x="134" y="81"/>
                    </a:cubicBezTo>
                    <a:cubicBezTo>
                      <a:pt x="123" y="36"/>
                      <a:pt x="123" y="36"/>
                      <a:pt x="123" y="36"/>
                    </a:cubicBezTo>
                    <a:cubicBezTo>
                      <a:pt x="123" y="36"/>
                      <a:pt x="123" y="36"/>
                      <a:pt x="123" y="36"/>
                    </a:cubicBezTo>
                    <a:cubicBezTo>
                      <a:pt x="129" y="25"/>
                      <a:pt x="129" y="25"/>
                      <a:pt x="129" y="25"/>
                    </a:cubicBezTo>
                    <a:cubicBezTo>
                      <a:pt x="131" y="22"/>
                      <a:pt x="130" y="19"/>
                      <a:pt x="126" y="19"/>
                    </a:cubicBezTo>
                    <a:cubicBezTo>
                      <a:pt x="112" y="19"/>
                      <a:pt x="112" y="19"/>
                      <a:pt x="112" y="19"/>
                    </a:cubicBezTo>
                    <a:cubicBezTo>
                      <a:pt x="109" y="19"/>
                      <a:pt x="107" y="22"/>
                      <a:pt x="109" y="25"/>
                    </a:cubicBezTo>
                    <a:cubicBezTo>
                      <a:pt x="115" y="36"/>
                      <a:pt x="115" y="36"/>
                      <a:pt x="115" y="36"/>
                    </a:cubicBezTo>
                    <a:cubicBezTo>
                      <a:pt x="115" y="36"/>
                      <a:pt x="115" y="36"/>
                      <a:pt x="115" y="36"/>
                    </a:cubicBezTo>
                    <a:cubicBezTo>
                      <a:pt x="105" y="81"/>
                      <a:pt x="105" y="81"/>
                      <a:pt x="105" y="81"/>
                    </a:cubicBezTo>
                    <a:cubicBezTo>
                      <a:pt x="82" y="0"/>
                      <a:pt x="82" y="0"/>
                      <a:pt x="82" y="0"/>
                    </a:cubicBezTo>
                    <a:cubicBezTo>
                      <a:pt x="49" y="7"/>
                      <a:pt x="0" y="28"/>
                      <a:pt x="0" y="102"/>
                    </a:cubicBezTo>
                    <a:cubicBezTo>
                      <a:pt x="0" y="134"/>
                      <a:pt x="120" y="133"/>
                      <a:pt x="120" y="133"/>
                    </a:cubicBezTo>
                    <a:cubicBezTo>
                      <a:pt x="120" y="133"/>
                      <a:pt x="239" y="134"/>
                      <a:pt x="239" y="102"/>
                    </a:cubicBezTo>
                    <a:cubicBezTo>
                      <a:pt x="239" y="27"/>
                      <a:pt x="190" y="6"/>
                      <a:pt x="1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grpSp>
      <p:sp>
        <p:nvSpPr>
          <p:cNvPr id="27" name="Oval 26">
            <a:extLst>
              <a:ext uri="{FF2B5EF4-FFF2-40B4-BE49-F238E27FC236}">
                <a16:creationId xmlns:a16="http://schemas.microsoft.com/office/drawing/2014/main" id="{AB6D654A-CE6B-417E-ABF1-B0EC54E70F67}"/>
              </a:ext>
            </a:extLst>
          </p:cNvPr>
          <p:cNvSpPr/>
          <p:nvPr/>
        </p:nvSpPr>
        <p:spPr>
          <a:xfrm>
            <a:off x="1920604" y="5359356"/>
            <a:ext cx="504000" cy="50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a:p>
        </p:txBody>
      </p:sp>
      <p:sp>
        <p:nvSpPr>
          <p:cNvPr id="28" name="Freeform 6"/>
          <p:cNvSpPr>
            <a:spLocks noEditPoints="1"/>
          </p:cNvSpPr>
          <p:nvPr/>
        </p:nvSpPr>
        <p:spPr bwMode="auto">
          <a:xfrm>
            <a:off x="1990037" y="5436631"/>
            <a:ext cx="374214" cy="341281"/>
          </a:xfrm>
          <a:custGeom>
            <a:avLst/>
            <a:gdLst>
              <a:gd name="T0" fmla="*/ 2426 w 3402"/>
              <a:gd name="T1" fmla="*/ 2897 h 3402"/>
              <a:gd name="T2" fmla="*/ 2643 w 3402"/>
              <a:gd name="T3" fmla="*/ 2834 h 3402"/>
              <a:gd name="T4" fmla="*/ 2605 w 3402"/>
              <a:gd name="T5" fmla="*/ 2495 h 3402"/>
              <a:gd name="T6" fmla="*/ 2019 w 3402"/>
              <a:gd name="T7" fmla="*/ 3053 h 3402"/>
              <a:gd name="T8" fmla="*/ 2273 w 3402"/>
              <a:gd name="T9" fmla="*/ 2723 h 3402"/>
              <a:gd name="T10" fmla="*/ 1062 w 3402"/>
              <a:gd name="T11" fmla="*/ 2575 h 3402"/>
              <a:gd name="T12" fmla="*/ 1290 w 3402"/>
              <a:gd name="T13" fmla="*/ 2963 h 3402"/>
              <a:gd name="T14" fmla="*/ 1589 w 3402"/>
              <a:gd name="T15" fmla="*/ 3161 h 3402"/>
              <a:gd name="T16" fmla="*/ 626 w 3402"/>
              <a:gd name="T17" fmla="*/ 2710 h 3402"/>
              <a:gd name="T18" fmla="*/ 1065 w 3402"/>
              <a:gd name="T19" fmla="*/ 3031 h 3402"/>
              <a:gd name="T20" fmla="*/ 827 w 3402"/>
              <a:gd name="T21" fmla="*/ 2582 h 3402"/>
              <a:gd name="T22" fmla="*/ 2695 w 3402"/>
              <a:gd name="T23" fmla="*/ 2092 h 3402"/>
              <a:gd name="T24" fmla="*/ 3134 w 3402"/>
              <a:gd name="T25" fmla="*/ 2048 h 3402"/>
              <a:gd name="T26" fmla="*/ 1813 w 3402"/>
              <a:gd name="T27" fmla="*/ 2268 h 3402"/>
              <a:gd name="T28" fmla="*/ 2493 w 3402"/>
              <a:gd name="T29" fmla="*/ 1813 h 3402"/>
              <a:gd name="T30" fmla="*/ 950 w 3402"/>
              <a:gd name="T31" fmla="*/ 2181 h 3402"/>
              <a:gd name="T32" fmla="*/ 239 w 3402"/>
              <a:gd name="T33" fmla="*/ 1894 h 3402"/>
              <a:gd name="T34" fmla="*/ 738 w 3402"/>
              <a:gd name="T35" fmla="*/ 2268 h 3402"/>
              <a:gd name="T36" fmla="*/ 231 w 3402"/>
              <a:gd name="T37" fmla="*/ 1813 h 3402"/>
              <a:gd name="T38" fmla="*/ 2720 w 3402"/>
              <a:gd name="T39" fmla="*/ 1589 h 3402"/>
              <a:gd name="T40" fmla="*/ 3090 w 3402"/>
              <a:gd name="T41" fmla="*/ 1206 h 3402"/>
              <a:gd name="T42" fmla="*/ 2487 w 3402"/>
              <a:gd name="T43" fmla="*/ 1493 h 3402"/>
              <a:gd name="T44" fmla="*/ 968 w 3402"/>
              <a:gd name="T45" fmla="*/ 1134 h 3402"/>
              <a:gd name="T46" fmla="*/ 1589 w 3402"/>
              <a:gd name="T47" fmla="*/ 1589 h 3402"/>
              <a:gd name="T48" fmla="*/ 268 w 3402"/>
              <a:gd name="T49" fmla="*/ 1354 h 3402"/>
              <a:gd name="T50" fmla="*/ 696 w 3402"/>
              <a:gd name="T51" fmla="*/ 1401 h 3402"/>
              <a:gd name="T52" fmla="*/ 2382 w 3402"/>
              <a:gd name="T53" fmla="*/ 435 h 3402"/>
              <a:gd name="T54" fmla="*/ 2605 w 3402"/>
              <a:gd name="T55" fmla="*/ 907 h 3402"/>
              <a:gd name="T56" fmla="*/ 2643 w 3402"/>
              <a:gd name="T57" fmla="*/ 568 h 3402"/>
              <a:gd name="T58" fmla="*/ 983 w 3402"/>
              <a:gd name="T59" fmla="*/ 413 h 3402"/>
              <a:gd name="T60" fmla="*/ 566 w 3402"/>
              <a:gd name="T61" fmla="*/ 760 h 3402"/>
              <a:gd name="T62" fmla="*/ 897 w 3402"/>
              <a:gd name="T63" fmla="*/ 655 h 3402"/>
              <a:gd name="T64" fmla="*/ 1813 w 3402"/>
              <a:gd name="T65" fmla="*/ 907 h 3402"/>
              <a:gd name="T66" fmla="*/ 2197 w 3402"/>
              <a:gd name="T67" fmla="*/ 549 h 3402"/>
              <a:gd name="T68" fmla="*/ 1920 w 3402"/>
              <a:gd name="T69" fmla="*/ 284 h 3402"/>
              <a:gd name="T70" fmla="*/ 1432 w 3402"/>
              <a:gd name="T71" fmla="*/ 313 h 3402"/>
              <a:gd name="T72" fmla="*/ 1166 w 3402"/>
              <a:gd name="T73" fmla="*/ 612 h 3402"/>
              <a:gd name="T74" fmla="*/ 1589 w 3402"/>
              <a:gd name="T75" fmla="*/ 241 h 3402"/>
              <a:gd name="T76" fmla="*/ 2111 w 3402"/>
              <a:gd name="T77" fmla="*/ 49 h 3402"/>
              <a:gd name="T78" fmla="*/ 2644 w 3402"/>
              <a:gd name="T79" fmla="*/ 286 h 3402"/>
              <a:gd name="T80" fmla="*/ 3061 w 3402"/>
              <a:gd name="T81" fmla="*/ 679 h 3402"/>
              <a:gd name="T82" fmla="*/ 3325 w 3402"/>
              <a:gd name="T83" fmla="*/ 1195 h 3402"/>
              <a:gd name="T84" fmla="*/ 3402 w 3402"/>
              <a:gd name="T85" fmla="*/ 1813 h 3402"/>
              <a:gd name="T86" fmla="*/ 3293 w 3402"/>
              <a:gd name="T87" fmla="*/ 2300 h 3402"/>
              <a:gd name="T88" fmla="*/ 3001 w 3402"/>
              <a:gd name="T89" fmla="*/ 2798 h 3402"/>
              <a:gd name="T90" fmla="*/ 2562 w 3402"/>
              <a:gd name="T91" fmla="*/ 3168 h 3402"/>
              <a:gd name="T92" fmla="*/ 2014 w 3402"/>
              <a:gd name="T93" fmla="*/ 3372 h 3402"/>
              <a:gd name="T94" fmla="*/ 1487 w 3402"/>
              <a:gd name="T95" fmla="*/ 3388 h 3402"/>
              <a:gd name="T96" fmla="*/ 925 w 3402"/>
              <a:gd name="T97" fmla="*/ 3214 h 3402"/>
              <a:gd name="T98" fmla="*/ 465 w 3402"/>
              <a:gd name="T99" fmla="*/ 2869 h 3402"/>
              <a:gd name="T100" fmla="*/ 145 w 3402"/>
              <a:gd name="T101" fmla="*/ 2390 h 3402"/>
              <a:gd name="T102" fmla="*/ 3 w 3402"/>
              <a:gd name="T103" fmla="*/ 1813 h 3402"/>
              <a:gd name="T104" fmla="*/ 49 w 3402"/>
              <a:gd name="T105" fmla="*/ 1291 h 3402"/>
              <a:gd name="T106" fmla="*/ 286 w 3402"/>
              <a:gd name="T107" fmla="*/ 758 h 3402"/>
              <a:gd name="T108" fmla="*/ 679 w 3402"/>
              <a:gd name="T109" fmla="*/ 341 h 3402"/>
              <a:gd name="T110" fmla="*/ 1195 w 3402"/>
              <a:gd name="T111" fmla="*/ 76 h 3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2" h="3402">
                <a:moveTo>
                  <a:pt x="2605" y="2495"/>
                </a:moveTo>
                <a:lnTo>
                  <a:pt x="2575" y="2582"/>
                </a:lnTo>
                <a:lnTo>
                  <a:pt x="2541" y="2667"/>
                </a:lnTo>
                <a:lnTo>
                  <a:pt x="2506" y="2747"/>
                </a:lnTo>
                <a:lnTo>
                  <a:pt x="2467" y="2825"/>
                </a:lnTo>
                <a:lnTo>
                  <a:pt x="2426" y="2897"/>
                </a:lnTo>
                <a:lnTo>
                  <a:pt x="2382" y="2966"/>
                </a:lnTo>
                <a:lnTo>
                  <a:pt x="2337" y="3031"/>
                </a:lnTo>
                <a:lnTo>
                  <a:pt x="2419" y="2989"/>
                </a:lnTo>
                <a:lnTo>
                  <a:pt x="2497" y="2942"/>
                </a:lnTo>
                <a:lnTo>
                  <a:pt x="2572" y="2891"/>
                </a:lnTo>
                <a:lnTo>
                  <a:pt x="2643" y="2834"/>
                </a:lnTo>
                <a:lnTo>
                  <a:pt x="2712" y="2774"/>
                </a:lnTo>
                <a:lnTo>
                  <a:pt x="2776" y="2710"/>
                </a:lnTo>
                <a:lnTo>
                  <a:pt x="2836" y="2642"/>
                </a:lnTo>
                <a:lnTo>
                  <a:pt x="2892" y="2570"/>
                </a:lnTo>
                <a:lnTo>
                  <a:pt x="2943" y="2495"/>
                </a:lnTo>
                <a:lnTo>
                  <a:pt x="2605" y="2495"/>
                </a:lnTo>
                <a:close/>
                <a:moveTo>
                  <a:pt x="1813" y="2495"/>
                </a:moveTo>
                <a:lnTo>
                  <a:pt x="1813" y="3161"/>
                </a:lnTo>
                <a:lnTo>
                  <a:pt x="1867" y="3143"/>
                </a:lnTo>
                <a:lnTo>
                  <a:pt x="1920" y="3119"/>
                </a:lnTo>
                <a:lnTo>
                  <a:pt x="1970" y="3089"/>
                </a:lnTo>
                <a:lnTo>
                  <a:pt x="2019" y="3053"/>
                </a:lnTo>
                <a:lnTo>
                  <a:pt x="2066" y="3010"/>
                </a:lnTo>
                <a:lnTo>
                  <a:pt x="2112" y="2963"/>
                </a:lnTo>
                <a:lnTo>
                  <a:pt x="2156" y="2910"/>
                </a:lnTo>
                <a:lnTo>
                  <a:pt x="2197" y="2853"/>
                </a:lnTo>
                <a:lnTo>
                  <a:pt x="2236" y="2790"/>
                </a:lnTo>
                <a:lnTo>
                  <a:pt x="2273" y="2723"/>
                </a:lnTo>
                <a:lnTo>
                  <a:pt x="2308" y="2650"/>
                </a:lnTo>
                <a:lnTo>
                  <a:pt x="2340" y="2575"/>
                </a:lnTo>
                <a:lnTo>
                  <a:pt x="2370" y="2495"/>
                </a:lnTo>
                <a:lnTo>
                  <a:pt x="1813" y="2495"/>
                </a:lnTo>
                <a:close/>
                <a:moveTo>
                  <a:pt x="1032" y="2495"/>
                </a:moveTo>
                <a:lnTo>
                  <a:pt x="1062" y="2575"/>
                </a:lnTo>
                <a:lnTo>
                  <a:pt x="1094" y="2650"/>
                </a:lnTo>
                <a:lnTo>
                  <a:pt x="1129" y="2723"/>
                </a:lnTo>
                <a:lnTo>
                  <a:pt x="1166" y="2790"/>
                </a:lnTo>
                <a:lnTo>
                  <a:pt x="1205" y="2853"/>
                </a:lnTo>
                <a:lnTo>
                  <a:pt x="1246" y="2910"/>
                </a:lnTo>
                <a:lnTo>
                  <a:pt x="1290" y="2963"/>
                </a:lnTo>
                <a:lnTo>
                  <a:pt x="1336" y="3010"/>
                </a:lnTo>
                <a:lnTo>
                  <a:pt x="1383" y="3053"/>
                </a:lnTo>
                <a:lnTo>
                  <a:pt x="1432" y="3089"/>
                </a:lnTo>
                <a:lnTo>
                  <a:pt x="1482" y="3119"/>
                </a:lnTo>
                <a:lnTo>
                  <a:pt x="1535" y="3143"/>
                </a:lnTo>
                <a:lnTo>
                  <a:pt x="1589" y="3161"/>
                </a:lnTo>
                <a:lnTo>
                  <a:pt x="1589" y="2495"/>
                </a:lnTo>
                <a:lnTo>
                  <a:pt x="1032" y="2495"/>
                </a:lnTo>
                <a:close/>
                <a:moveTo>
                  <a:pt x="459" y="2495"/>
                </a:moveTo>
                <a:lnTo>
                  <a:pt x="510" y="2570"/>
                </a:lnTo>
                <a:lnTo>
                  <a:pt x="566" y="2642"/>
                </a:lnTo>
                <a:lnTo>
                  <a:pt x="626" y="2710"/>
                </a:lnTo>
                <a:lnTo>
                  <a:pt x="690" y="2774"/>
                </a:lnTo>
                <a:lnTo>
                  <a:pt x="759" y="2834"/>
                </a:lnTo>
                <a:lnTo>
                  <a:pt x="830" y="2891"/>
                </a:lnTo>
                <a:lnTo>
                  <a:pt x="905" y="2942"/>
                </a:lnTo>
                <a:lnTo>
                  <a:pt x="983" y="2989"/>
                </a:lnTo>
                <a:lnTo>
                  <a:pt x="1065" y="3031"/>
                </a:lnTo>
                <a:lnTo>
                  <a:pt x="1020" y="2967"/>
                </a:lnTo>
                <a:lnTo>
                  <a:pt x="975" y="2898"/>
                </a:lnTo>
                <a:lnTo>
                  <a:pt x="934" y="2825"/>
                </a:lnTo>
                <a:lnTo>
                  <a:pt x="896" y="2747"/>
                </a:lnTo>
                <a:lnTo>
                  <a:pt x="860" y="2667"/>
                </a:lnTo>
                <a:lnTo>
                  <a:pt x="827" y="2582"/>
                </a:lnTo>
                <a:lnTo>
                  <a:pt x="797" y="2495"/>
                </a:lnTo>
                <a:lnTo>
                  <a:pt x="459" y="2495"/>
                </a:lnTo>
                <a:close/>
                <a:moveTo>
                  <a:pt x="2720" y="1813"/>
                </a:moveTo>
                <a:lnTo>
                  <a:pt x="2714" y="1908"/>
                </a:lnTo>
                <a:lnTo>
                  <a:pt x="2706" y="2001"/>
                </a:lnTo>
                <a:lnTo>
                  <a:pt x="2695" y="2092"/>
                </a:lnTo>
                <a:lnTo>
                  <a:pt x="2680" y="2181"/>
                </a:lnTo>
                <a:lnTo>
                  <a:pt x="2664" y="2268"/>
                </a:lnTo>
                <a:lnTo>
                  <a:pt x="3062" y="2268"/>
                </a:lnTo>
                <a:lnTo>
                  <a:pt x="3090" y="2196"/>
                </a:lnTo>
                <a:lnTo>
                  <a:pt x="3113" y="2123"/>
                </a:lnTo>
                <a:lnTo>
                  <a:pt x="3134" y="2048"/>
                </a:lnTo>
                <a:lnTo>
                  <a:pt x="3150" y="1971"/>
                </a:lnTo>
                <a:lnTo>
                  <a:pt x="3163" y="1894"/>
                </a:lnTo>
                <a:lnTo>
                  <a:pt x="3171" y="1813"/>
                </a:lnTo>
                <a:lnTo>
                  <a:pt x="2720" y="1813"/>
                </a:lnTo>
                <a:close/>
                <a:moveTo>
                  <a:pt x="1813" y="1813"/>
                </a:moveTo>
                <a:lnTo>
                  <a:pt x="1813" y="2268"/>
                </a:lnTo>
                <a:lnTo>
                  <a:pt x="2434" y="2268"/>
                </a:lnTo>
                <a:lnTo>
                  <a:pt x="2452" y="2181"/>
                </a:lnTo>
                <a:lnTo>
                  <a:pt x="2467" y="2093"/>
                </a:lnTo>
                <a:lnTo>
                  <a:pt x="2478" y="2002"/>
                </a:lnTo>
                <a:lnTo>
                  <a:pt x="2488" y="1909"/>
                </a:lnTo>
                <a:lnTo>
                  <a:pt x="2493" y="1813"/>
                </a:lnTo>
                <a:lnTo>
                  <a:pt x="1813" y="1813"/>
                </a:lnTo>
                <a:close/>
                <a:moveTo>
                  <a:pt x="909" y="1813"/>
                </a:moveTo>
                <a:lnTo>
                  <a:pt x="914" y="1909"/>
                </a:lnTo>
                <a:lnTo>
                  <a:pt x="924" y="2002"/>
                </a:lnTo>
                <a:lnTo>
                  <a:pt x="935" y="2093"/>
                </a:lnTo>
                <a:lnTo>
                  <a:pt x="950" y="2181"/>
                </a:lnTo>
                <a:lnTo>
                  <a:pt x="968" y="2268"/>
                </a:lnTo>
                <a:lnTo>
                  <a:pt x="1589" y="2268"/>
                </a:lnTo>
                <a:lnTo>
                  <a:pt x="1589" y="1813"/>
                </a:lnTo>
                <a:lnTo>
                  <a:pt x="909" y="1813"/>
                </a:lnTo>
                <a:close/>
                <a:moveTo>
                  <a:pt x="231" y="1813"/>
                </a:moveTo>
                <a:lnTo>
                  <a:pt x="239" y="1894"/>
                </a:lnTo>
                <a:lnTo>
                  <a:pt x="252" y="1971"/>
                </a:lnTo>
                <a:lnTo>
                  <a:pt x="268" y="2048"/>
                </a:lnTo>
                <a:lnTo>
                  <a:pt x="289" y="2123"/>
                </a:lnTo>
                <a:lnTo>
                  <a:pt x="312" y="2196"/>
                </a:lnTo>
                <a:lnTo>
                  <a:pt x="340" y="2268"/>
                </a:lnTo>
                <a:lnTo>
                  <a:pt x="738" y="2268"/>
                </a:lnTo>
                <a:lnTo>
                  <a:pt x="722" y="2181"/>
                </a:lnTo>
                <a:lnTo>
                  <a:pt x="707" y="2092"/>
                </a:lnTo>
                <a:lnTo>
                  <a:pt x="696" y="2001"/>
                </a:lnTo>
                <a:lnTo>
                  <a:pt x="688" y="1908"/>
                </a:lnTo>
                <a:lnTo>
                  <a:pt x="682" y="1813"/>
                </a:lnTo>
                <a:lnTo>
                  <a:pt x="231" y="1813"/>
                </a:lnTo>
                <a:close/>
                <a:moveTo>
                  <a:pt x="2664" y="1134"/>
                </a:moveTo>
                <a:lnTo>
                  <a:pt x="2680" y="1221"/>
                </a:lnTo>
                <a:lnTo>
                  <a:pt x="2695" y="1310"/>
                </a:lnTo>
                <a:lnTo>
                  <a:pt x="2706" y="1401"/>
                </a:lnTo>
                <a:lnTo>
                  <a:pt x="2714" y="1494"/>
                </a:lnTo>
                <a:lnTo>
                  <a:pt x="2720" y="1589"/>
                </a:lnTo>
                <a:lnTo>
                  <a:pt x="3171" y="1589"/>
                </a:lnTo>
                <a:lnTo>
                  <a:pt x="3163" y="1508"/>
                </a:lnTo>
                <a:lnTo>
                  <a:pt x="3150" y="1431"/>
                </a:lnTo>
                <a:lnTo>
                  <a:pt x="3134" y="1354"/>
                </a:lnTo>
                <a:lnTo>
                  <a:pt x="3113" y="1279"/>
                </a:lnTo>
                <a:lnTo>
                  <a:pt x="3090" y="1206"/>
                </a:lnTo>
                <a:lnTo>
                  <a:pt x="3062" y="1134"/>
                </a:lnTo>
                <a:lnTo>
                  <a:pt x="2664" y="1134"/>
                </a:lnTo>
                <a:close/>
                <a:moveTo>
                  <a:pt x="1813" y="1134"/>
                </a:moveTo>
                <a:lnTo>
                  <a:pt x="1813" y="1589"/>
                </a:lnTo>
                <a:lnTo>
                  <a:pt x="2493" y="1589"/>
                </a:lnTo>
                <a:lnTo>
                  <a:pt x="2487" y="1493"/>
                </a:lnTo>
                <a:lnTo>
                  <a:pt x="2478" y="1400"/>
                </a:lnTo>
                <a:lnTo>
                  <a:pt x="2466" y="1309"/>
                </a:lnTo>
                <a:lnTo>
                  <a:pt x="2452" y="1221"/>
                </a:lnTo>
                <a:lnTo>
                  <a:pt x="2434" y="1134"/>
                </a:lnTo>
                <a:lnTo>
                  <a:pt x="1813" y="1134"/>
                </a:lnTo>
                <a:close/>
                <a:moveTo>
                  <a:pt x="968" y="1134"/>
                </a:moveTo>
                <a:lnTo>
                  <a:pt x="950" y="1221"/>
                </a:lnTo>
                <a:lnTo>
                  <a:pt x="935" y="1309"/>
                </a:lnTo>
                <a:lnTo>
                  <a:pt x="924" y="1400"/>
                </a:lnTo>
                <a:lnTo>
                  <a:pt x="914" y="1493"/>
                </a:lnTo>
                <a:lnTo>
                  <a:pt x="909" y="1589"/>
                </a:lnTo>
                <a:lnTo>
                  <a:pt x="1589" y="1589"/>
                </a:lnTo>
                <a:lnTo>
                  <a:pt x="1589" y="1134"/>
                </a:lnTo>
                <a:lnTo>
                  <a:pt x="968" y="1134"/>
                </a:lnTo>
                <a:close/>
                <a:moveTo>
                  <a:pt x="340" y="1134"/>
                </a:moveTo>
                <a:lnTo>
                  <a:pt x="312" y="1206"/>
                </a:lnTo>
                <a:lnTo>
                  <a:pt x="289" y="1279"/>
                </a:lnTo>
                <a:lnTo>
                  <a:pt x="268" y="1354"/>
                </a:lnTo>
                <a:lnTo>
                  <a:pt x="252" y="1431"/>
                </a:lnTo>
                <a:lnTo>
                  <a:pt x="239" y="1508"/>
                </a:lnTo>
                <a:lnTo>
                  <a:pt x="231" y="1589"/>
                </a:lnTo>
                <a:lnTo>
                  <a:pt x="682" y="1589"/>
                </a:lnTo>
                <a:lnTo>
                  <a:pt x="688" y="1494"/>
                </a:lnTo>
                <a:lnTo>
                  <a:pt x="696" y="1401"/>
                </a:lnTo>
                <a:lnTo>
                  <a:pt x="707" y="1310"/>
                </a:lnTo>
                <a:lnTo>
                  <a:pt x="722" y="1221"/>
                </a:lnTo>
                <a:lnTo>
                  <a:pt x="738" y="1134"/>
                </a:lnTo>
                <a:lnTo>
                  <a:pt x="340" y="1134"/>
                </a:lnTo>
                <a:close/>
                <a:moveTo>
                  <a:pt x="2337" y="371"/>
                </a:moveTo>
                <a:lnTo>
                  <a:pt x="2382" y="435"/>
                </a:lnTo>
                <a:lnTo>
                  <a:pt x="2427" y="504"/>
                </a:lnTo>
                <a:lnTo>
                  <a:pt x="2468" y="577"/>
                </a:lnTo>
                <a:lnTo>
                  <a:pt x="2506" y="655"/>
                </a:lnTo>
                <a:lnTo>
                  <a:pt x="2542" y="735"/>
                </a:lnTo>
                <a:lnTo>
                  <a:pt x="2575" y="820"/>
                </a:lnTo>
                <a:lnTo>
                  <a:pt x="2605" y="907"/>
                </a:lnTo>
                <a:lnTo>
                  <a:pt x="2943" y="907"/>
                </a:lnTo>
                <a:lnTo>
                  <a:pt x="2892" y="832"/>
                </a:lnTo>
                <a:lnTo>
                  <a:pt x="2836" y="760"/>
                </a:lnTo>
                <a:lnTo>
                  <a:pt x="2776" y="692"/>
                </a:lnTo>
                <a:lnTo>
                  <a:pt x="2712" y="628"/>
                </a:lnTo>
                <a:lnTo>
                  <a:pt x="2643" y="568"/>
                </a:lnTo>
                <a:lnTo>
                  <a:pt x="2572" y="511"/>
                </a:lnTo>
                <a:lnTo>
                  <a:pt x="2497" y="460"/>
                </a:lnTo>
                <a:lnTo>
                  <a:pt x="2419" y="413"/>
                </a:lnTo>
                <a:lnTo>
                  <a:pt x="2337" y="371"/>
                </a:lnTo>
                <a:close/>
                <a:moveTo>
                  <a:pt x="1065" y="371"/>
                </a:moveTo>
                <a:lnTo>
                  <a:pt x="983" y="413"/>
                </a:lnTo>
                <a:lnTo>
                  <a:pt x="905" y="460"/>
                </a:lnTo>
                <a:lnTo>
                  <a:pt x="830" y="511"/>
                </a:lnTo>
                <a:lnTo>
                  <a:pt x="759" y="568"/>
                </a:lnTo>
                <a:lnTo>
                  <a:pt x="690" y="628"/>
                </a:lnTo>
                <a:lnTo>
                  <a:pt x="626" y="692"/>
                </a:lnTo>
                <a:lnTo>
                  <a:pt x="566" y="760"/>
                </a:lnTo>
                <a:lnTo>
                  <a:pt x="510" y="832"/>
                </a:lnTo>
                <a:lnTo>
                  <a:pt x="459" y="907"/>
                </a:lnTo>
                <a:lnTo>
                  <a:pt x="798" y="907"/>
                </a:lnTo>
                <a:lnTo>
                  <a:pt x="828" y="820"/>
                </a:lnTo>
                <a:lnTo>
                  <a:pt x="861" y="735"/>
                </a:lnTo>
                <a:lnTo>
                  <a:pt x="897" y="655"/>
                </a:lnTo>
                <a:lnTo>
                  <a:pt x="935" y="577"/>
                </a:lnTo>
                <a:lnTo>
                  <a:pt x="976" y="504"/>
                </a:lnTo>
                <a:lnTo>
                  <a:pt x="1020" y="435"/>
                </a:lnTo>
                <a:lnTo>
                  <a:pt x="1065" y="371"/>
                </a:lnTo>
                <a:close/>
                <a:moveTo>
                  <a:pt x="1813" y="241"/>
                </a:moveTo>
                <a:lnTo>
                  <a:pt x="1813" y="907"/>
                </a:lnTo>
                <a:lnTo>
                  <a:pt x="2370" y="907"/>
                </a:lnTo>
                <a:lnTo>
                  <a:pt x="2340" y="827"/>
                </a:lnTo>
                <a:lnTo>
                  <a:pt x="2308" y="752"/>
                </a:lnTo>
                <a:lnTo>
                  <a:pt x="2273" y="679"/>
                </a:lnTo>
                <a:lnTo>
                  <a:pt x="2236" y="612"/>
                </a:lnTo>
                <a:lnTo>
                  <a:pt x="2197" y="549"/>
                </a:lnTo>
                <a:lnTo>
                  <a:pt x="2156" y="492"/>
                </a:lnTo>
                <a:lnTo>
                  <a:pt x="2112" y="439"/>
                </a:lnTo>
                <a:lnTo>
                  <a:pt x="2066" y="392"/>
                </a:lnTo>
                <a:lnTo>
                  <a:pt x="2019" y="349"/>
                </a:lnTo>
                <a:lnTo>
                  <a:pt x="1970" y="313"/>
                </a:lnTo>
                <a:lnTo>
                  <a:pt x="1920" y="284"/>
                </a:lnTo>
                <a:lnTo>
                  <a:pt x="1867" y="259"/>
                </a:lnTo>
                <a:lnTo>
                  <a:pt x="1813" y="241"/>
                </a:lnTo>
                <a:close/>
                <a:moveTo>
                  <a:pt x="1589" y="241"/>
                </a:moveTo>
                <a:lnTo>
                  <a:pt x="1535" y="259"/>
                </a:lnTo>
                <a:lnTo>
                  <a:pt x="1482" y="284"/>
                </a:lnTo>
                <a:lnTo>
                  <a:pt x="1432" y="313"/>
                </a:lnTo>
                <a:lnTo>
                  <a:pt x="1383" y="349"/>
                </a:lnTo>
                <a:lnTo>
                  <a:pt x="1336" y="392"/>
                </a:lnTo>
                <a:lnTo>
                  <a:pt x="1290" y="439"/>
                </a:lnTo>
                <a:lnTo>
                  <a:pt x="1246" y="492"/>
                </a:lnTo>
                <a:lnTo>
                  <a:pt x="1205" y="549"/>
                </a:lnTo>
                <a:lnTo>
                  <a:pt x="1166" y="612"/>
                </a:lnTo>
                <a:lnTo>
                  <a:pt x="1129" y="679"/>
                </a:lnTo>
                <a:lnTo>
                  <a:pt x="1094" y="752"/>
                </a:lnTo>
                <a:lnTo>
                  <a:pt x="1062" y="827"/>
                </a:lnTo>
                <a:lnTo>
                  <a:pt x="1032" y="907"/>
                </a:lnTo>
                <a:lnTo>
                  <a:pt x="1589" y="907"/>
                </a:lnTo>
                <a:lnTo>
                  <a:pt x="1589" y="241"/>
                </a:lnTo>
                <a:close/>
                <a:moveTo>
                  <a:pt x="1589" y="0"/>
                </a:moveTo>
                <a:lnTo>
                  <a:pt x="1813" y="0"/>
                </a:lnTo>
                <a:lnTo>
                  <a:pt x="1813" y="3"/>
                </a:lnTo>
                <a:lnTo>
                  <a:pt x="1915" y="13"/>
                </a:lnTo>
                <a:lnTo>
                  <a:pt x="2014" y="29"/>
                </a:lnTo>
                <a:lnTo>
                  <a:pt x="2111" y="49"/>
                </a:lnTo>
                <a:lnTo>
                  <a:pt x="2207" y="76"/>
                </a:lnTo>
                <a:lnTo>
                  <a:pt x="2300" y="108"/>
                </a:lnTo>
                <a:lnTo>
                  <a:pt x="2390" y="145"/>
                </a:lnTo>
                <a:lnTo>
                  <a:pt x="2477" y="188"/>
                </a:lnTo>
                <a:lnTo>
                  <a:pt x="2562" y="234"/>
                </a:lnTo>
                <a:lnTo>
                  <a:pt x="2644" y="286"/>
                </a:lnTo>
                <a:lnTo>
                  <a:pt x="2723" y="341"/>
                </a:lnTo>
                <a:lnTo>
                  <a:pt x="2798" y="401"/>
                </a:lnTo>
                <a:lnTo>
                  <a:pt x="2869" y="465"/>
                </a:lnTo>
                <a:lnTo>
                  <a:pt x="2937" y="533"/>
                </a:lnTo>
                <a:lnTo>
                  <a:pt x="3001" y="604"/>
                </a:lnTo>
                <a:lnTo>
                  <a:pt x="3061" y="679"/>
                </a:lnTo>
                <a:lnTo>
                  <a:pt x="3116" y="758"/>
                </a:lnTo>
                <a:lnTo>
                  <a:pt x="3168" y="840"/>
                </a:lnTo>
                <a:lnTo>
                  <a:pt x="3214" y="925"/>
                </a:lnTo>
                <a:lnTo>
                  <a:pt x="3257" y="1012"/>
                </a:lnTo>
                <a:lnTo>
                  <a:pt x="3293" y="1102"/>
                </a:lnTo>
                <a:lnTo>
                  <a:pt x="3325" y="1195"/>
                </a:lnTo>
                <a:lnTo>
                  <a:pt x="3351" y="1291"/>
                </a:lnTo>
                <a:lnTo>
                  <a:pt x="3372" y="1388"/>
                </a:lnTo>
                <a:lnTo>
                  <a:pt x="3388" y="1487"/>
                </a:lnTo>
                <a:lnTo>
                  <a:pt x="3398" y="1589"/>
                </a:lnTo>
                <a:lnTo>
                  <a:pt x="3402" y="1589"/>
                </a:lnTo>
                <a:lnTo>
                  <a:pt x="3402" y="1813"/>
                </a:lnTo>
                <a:lnTo>
                  <a:pt x="3398" y="1813"/>
                </a:lnTo>
                <a:lnTo>
                  <a:pt x="3388" y="1915"/>
                </a:lnTo>
                <a:lnTo>
                  <a:pt x="3372" y="2014"/>
                </a:lnTo>
                <a:lnTo>
                  <a:pt x="3351" y="2111"/>
                </a:lnTo>
                <a:lnTo>
                  <a:pt x="3325" y="2207"/>
                </a:lnTo>
                <a:lnTo>
                  <a:pt x="3293" y="2300"/>
                </a:lnTo>
                <a:lnTo>
                  <a:pt x="3257" y="2390"/>
                </a:lnTo>
                <a:lnTo>
                  <a:pt x="3214" y="2477"/>
                </a:lnTo>
                <a:lnTo>
                  <a:pt x="3168" y="2562"/>
                </a:lnTo>
                <a:lnTo>
                  <a:pt x="3116" y="2644"/>
                </a:lnTo>
                <a:lnTo>
                  <a:pt x="3061" y="2723"/>
                </a:lnTo>
                <a:lnTo>
                  <a:pt x="3001" y="2798"/>
                </a:lnTo>
                <a:lnTo>
                  <a:pt x="2937" y="2869"/>
                </a:lnTo>
                <a:lnTo>
                  <a:pt x="2869" y="2937"/>
                </a:lnTo>
                <a:lnTo>
                  <a:pt x="2798" y="3001"/>
                </a:lnTo>
                <a:lnTo>
                  <a:pt x="2723" y="3061"/>
                </a:lnTo>
                <a:lnTo>
                  <a:pt x="2644" y="3116"/>
                </a:lnTo>
                <a:lnTo>
                  <a:pt x="2562" y="3168"/>
                </a:lnTo>
                <a:lnTo>
                  <a:pt x="2477" y="3214"/>
                </a:lnTo>
                <a:lnTo>
                  <a:pt x="2390" y="3257"/>
                </a:lnTo>
                <a:lnTo>
                  <a:pt x="2300" y="3293"/>
                </a:lnTo>
                <a:lnTo>
                  <a:pt x="2207" y="3325"/>
                </a:lnTo>
                <a:lnTo>
                  <a:pt x="2111" y="3351"/>
                </a:lnTo>
                <a:lnTo>
                  <a:pt x="2014" y="3372"/>
                </a:lnTo>
                <a:lnTo>
                  <a:pt x="1915" y="3388"/>
                </a:lnTo>
                <a:lnTo>
                  <a:pt x="1813" y="3398"/>
                </a:lnTo>
                <a:lnTo>
                  <a:pt x="1813" y="3402"/>
                </a:lnTo>
                <a:lnTo>
                  <a:pt x="1589" y="3402"/>
                </a:lnTo>
                <a:lnTo>
                  <a:pt x="1589" y="3398"/>
                </a:lnTo>
                <a:lnTo>
                  <a:pt x="1487" y="3388"/>
                </a:lnTo>
                <a:lnTo>
                  <a:pt x="1388" y="3372"/>
                </a:lnTo>
                <a:lnTo>
                  <a:pt x="1291" y="3351"/>
                </a:lnTo>
                <a:lnTo>
                  <a:pt x="1195" y="3325"/>
                </a:lnTo>
                <a:lnTo>
                  <a:pt x="1102" y="3293"/>
                </a:lnTo>
                <a:lnTo>
                  <a:pt x="1012" y="3257"/>
                </a:lnTo>
                <a:lnTo>
                  <a:pt x="925" y="3214"/>
                </a:lnTo>
                <a:lnTo>
                  <a:pt x="840" y="3168"/>
                </a:lnTo>
                <a:lnTo>
                  <a:pt x="758" y="3116"/>
                </a:lnTo>
                <a:lnTo>
                  <a:pt x="679" y="3061"/>
                </a:lnTo>
                <a:lnTo>
                  <a:pt x="604" y="3001"/>
                </a:lnTo>
                <a:lnTo>
                  <a:pt x="533" y="2937"/>
                </a:lnTo>
                <a:lnTo>
                  <a:pt x="465" y="2869"/>
                </a:lnTo>
                <a:lnTo>
                  <a:pt x="401" y="2798"/>
                </a:lnTo>
                <a:lnTo>
                  <a:pt x="341" y="2723"/>
                </a:lnTo>
                <a:lnTo>
                  <a:pt x="286" y="2644"/>
                </a:lnTo>
                <a:lnTo>
                  <a:pt x="234" y="2562"/>
                </a:lnTo>
                <a:lnTo>
                  <a:pt x="188" y="2477"/>
                </a:lnTo>
                <a:lnTo>
                  <a:pt x="145" y="2390"/>
                </a:lnTo>
                <a:lnTo>
                  <a:pt x="108" y="2300"/>
                </a:lnTo>
                <a:lnTo>
                  <a:pt x="76" y="2207"/>
                </a:lnTo>
                <a:lnTo>
                  <a:pt x="49" y="2111"/>
                </a:lnTo>
                <a:lnTo>
                  <a:pt x="29" y="2014"/>
                </a:lnTo>
                <a:lnTo>
                  <a:pt x="13" y="1915"/>
                </a:lnTo>
                <a:lnTo>
                  <a:pt x="3" y="1813"/>
                </a:lnTo>
                <a:lnTo>
                  <a:pt x="0" y="1813"/>
                </a:lnTo>
                <a:lnTo>
                  <a:pt x="0" y="1589"/>
                </a:lnTo>
                <a:lnTo>
                  <a:pt x="3" y="1589"/>
                </a:lnTo>
                <a:lnTo>
                  <a:pt x="13" y="1487"/>
                </a:lnTo>
                <a:lnTo>
                  <a:pt x="29" y="1388"/>
                </a:lnTo>
                <a:lnTo>
                  <a:pt x="49" y="1291"/>
                </a:lnTo>
                <a:lnTo>
                  <a:pt x="76" y="1195"/>
                </a:lnTo>
                <a:lnTo>
                  <a:pt x="108" y="1102"/>
                </a:lnTo>
                <a:lnTo>
                  <a:pt x="145" y="1012"/>
                </a:lnTo>
                <a:lnTo>
                  <a:pt x="188" y="925"/>
                </a:lnTo>
                <a:lnTo>
                  <a:pt x="234" y="840"/>
                </a:lnTo>
                <a:lnTo>
                  <a:pt x="286" y="758"/>
                </a:lnTo>
                <a:lnTo>
                  <a:pt x="341" y="679"/>
                </a:lnTo>
                <a:lnTo>
                  <a:pt x="401" y="604"/>
                </a:lnTo>
                <a:lnTo>
                  <a:pt x="465" y="533"/>
                </a:lnTo>
                <a:lnTo>
                  <a:pt x="533" y="465"/>
                </a:lnTo>
                <a:lnTo>
                  <a:pt x="604" y="401"/>
                </a:lnTo>
                <a:lnTo>
                  <a:pt x="679" y="341"/>
                </a:lnTo>
                <a:lnTo>
                  <a:pt x="758" y="286"/>
                </a:lnTo>
                <a:lnTo>
                  <a:pt x="840" y="234"/>
                </a:lnTo>
                <a:lnTo>
                  <a:pt x="925" y="188"/>
                </a:lnTo>
                <a:lnTo>
                  <a:pt x="1012" y="145"/>
                </a:lnTo>
                <a:lnTo>
                  <a:pt x="1102" y="108"/>
                </a:lnTo>
                <a:lnTo>
                  <a:pt x="1195" y="76"/>
                </a:lnTo>
                <a:lnTo>
                  <a:pt x="1291" y="49"/>
                </a:lnTo>
                <a:lnTo>
                  <a:pt x="1388" y="29"/>
                </a:lnTo>
                <a:lnTo>
                  <a:pt x="1487" y="13"/>
                </a:lnTo>
                <a:lnTo>
                  <a:pt x="1589" y="3"/>
                </a:lnTo>
                <a:lnTo>
                  <a:pt x="158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000"/>
          </a:p>
        </p:txBody>
      </p:sp>
      <p:sp>
        <p:nvSpPr>
          <p:cNvPr id="29" name="Rectangle 28">
            <a:extLst>
              <a:ext uri="{FF2B5EF4-FFF2-40B4-BE49-F238E27FC236}">
                <a16:creationId xmlns:a16="http://schemas.microsoft.com/office/drawing/2014/main" id="{A8F4757D-BF05-4989-A497-8AF3387F0D8C}"/>
              </a:ext>
            </a:extLst>
          </p:cNvPr>
          <p:cNvSpPr/>
          <p:nvPr/>
        </p:nvSpPr>
        <p:spPr>
          <a:xfrm>
            <a:off x="2922346" y="5405854"/>
            <a:ext cx="7628421"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just"/>
            <a:r>
              <a:rPr lang="en-US" dirty="0">
                <a:solidFill>
                  <a:schemeClr val="tx1"/>
                </a:solidFill>
              </a:rPr>
              <a:t>Need-based community physical infrastructure and farm to market roads for enhancing income and social well-being</a:t>
            </a:r>
            <a:endParaRPr lang="en-US" sz="1600" dirty="0">
              <a:solidFill>
                <a:schemeClr val="tx1"/>
              </a:solidFill>
            </a:endParaRPr>
          </a:p>
        </p:txBody>
      </p:sp>
    </p:spTree>
    <p:extLst>
      <p:ext uri="{BB962C8B-B14F-4D97-AF65-F5344CB8AC3E}">
        <p14:creationId xmlns:p14="http://schemas.microsoft.com/office/powerpoint/2010/main" val="3009246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a:extLst>
              <a:ext uri="{FF2B5EF4-FFF2-40B4-BE49-F238E27FC236}">
                <a16:creationId xmlns:a16="http://schemas.microsoft.com/office/drawing/2014/main" id="{AB6D654A-CE6B-417E-ABF1-B0EC54E70F67}"/>
              </a:ext>
            </a:extLst>
          </p:cNvPr>
          <p:cNvSpPr/>
          <p:nvPr/>
        </p:nvSpPr>
        <p:spPr>
          <a:xfrm>
            <a:off x="2072536" y="3738747"/>
            <a:ext cx="504000" cy="50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p>
        </p:txBody>
      </p:sp>
      <p:graphicFrame>
        <p:nvGraphicFramePr>
          <p:cNvPr id="13" name="Object 12" hidden="1">
            <a:extLst>
              <a:ext uri="{FF2B5EF4-FFF2-40B4-BE49-F238E27FC236}">
                <a16:creationId xmlns:a16="http://schemas.microsoft.com/office/drawing/2014/main" id="{28735A76-C28F-47DB-8C98-DD3F2E107B7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3" name="Object 12" hidden="1">
                        <a:extLst>
                          <a:ext uri="{FF2B5EF4-FFF2-40B4-BE49-F238E27FC236}">
                            <a16:creationId xmlns:a16="http://schemas.microsoft.com/office/drawing/2014/main" id="{28735A76-C28F-47DB-8C98-DD3F2E107B7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02312FA-3911-4902-966B-23EBFD4507AE}"/>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24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52488" y="1395482"/>
            <a:ext cx="10633711" cy="609600"/>
          </a:xfrm>
        </p:spPr>
        <p:txBody>
          <a:bodyPr>
            <a:normAutofit/>
          </a:bodyPr>
          <a:lstStyle/>
          <a:p>
            <a:r>
              <a:rPr lang="en-IN" dirty="0"/>
              <a:t> </a:t>
            </a:r>
            <a:r>
              <a:rPr lang="en-IN" sz="2700" dirty="0"/>
              <a:t>Component 2 -  Fisheries Value Chain Development</a:t>
            </a:r>
          </a:p>
        </p:txBody>
      </p:sp>
      <p:sp>
        <p:nvSpPr>
          <p:cNvPr id="8" name="Rectangle 7">
            <a:extLst>
              <a:ext uri="{FF2B5EF4-FFF2-40B4-BE49-F238E27FC236}">
                <a16:creationId xmlns:a16="http://schemas.microsoft.com/office/drawing/2014/main" id="{C12F15C7-C73E-46EB-BBBA-002199B557A1}"/>
              </a:ext>
            </a:extLst>
          </p:cNvPr>
          <p:cNvSpPr/>
          <p:nvPr/>
        </p:nvSpPr>
        <p:spPr>
          <a:xfrm>
            <a:off x="1949168" y="2097250"/>
            <a:ext cx="8802567" cy="938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432000" bIns="46800" rtlCol="0" anchor="ctr">
            <a:noAutofit/>
          </a:bodyPr>
          <a:lstStyle/>
          <a:p>
            <a:r>
              <a:rPr lang="en-GB" sz="1600" b="1" dirty="0">
                <a:solidFill>
                  <a:schemeClr val="tx1"/>
                </a:solidFill>
              </a:rPr>
              <a:t>Enable 46,000 small fishing persons to sustainably increase income through adoption of improved practices, compliance with buyer standards, improved linkages and better terms of trade.</a:t>
            </a:r>
            <a:endParaRPr lang="en-IN" sz="1600" b="1" dirty="0">
              <a:solidFill>
                <a:schemeClr val="tx1"/>
              </a:solidFill>
            </a:endParaRPr>
          </a:p>
        </p:txBody>
      </p:sp>
      <p:sp>
        <p:nvSpPr>
          <p:cNvPr id="51" name="Oval 50">
            <a:extLst>
              <a:ext uri="{FF2B5EF4-FFF2-40B4-BE49-F238E27FC236}">
                <a16:creationId xmlns:a16="http://schemas.microsoft.com/office/drawing/2014/main" id="{AB6D654A-CE6B-417E-ABF1-B0EC54E70F67}"/>
              </a:ext>
            </a:extLst>
          </p:cNvPr>
          <p:cNvSpPr/>
          <p:nvPr/>
        </p:nvSpPr>
        <p:spPr>
          <a:xfrm>
            <a:off x="2104170" y="5039914"/>
            <a:ext cx="504000" cy="504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p>
        </p:txBody>
      </p:sp>
      <p:sp>
        <p:nvSpPr>
          <p:cNvPr id="11" name="Oval 10">
            <a:extLst>
              <a:ext uri="{FF2B5EF4-FFF2-40B4-BE49-F238E27FC236}">
                <a16:creationId xmlns:a16="http://schemas.microsoft.com/office/drawing/2014/main" id="{AB6D654A-CE6B-417E-ABF1-B0EC54E70F67}"/>
              </a:ext>
            </a:extLst>
          </p:cNvPr>
          <p:cNvSpPr/>
          <p:nvPr/>
        </p:nvSpPr>
        <p:spPr>
          <a:xfrm>
            <a:off x="2077962" y="5734382"/>
            <a:ext cx="504000" cy="504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p>
        </p:txBody>
      </p:sp>
      <p:sp>
        <p:nvSpPr>
          <p:cNvPr id="54" name="Oval 53">
            <a:extLst>
              <a:ext uri="{FF2B5EF4-FFF2-40B4-BE49-F238E27FC236}">
                <a16:creationId xmlns:a16="http://schemas.microsoft.com/office/drawing/2014/main" id="{AB6D654A-CE6B-417E-ABF1-B0EC54E70F67}"/>
              </a:ext>
            </a:extLst>
          </p:cNvPr>
          <p:cNvSpPr/>
          <p:nvPr/>
        </p:nvSpPr>
        <p:spPr>
          <a:xfrm>
            <a:off x="2071721" y="3191122"/>
            <a:ext cx="504000" cy="504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p>
        </p:txBody>
      </p:sp>
      <p:sp>
        <p:nvSpPr>
          <p:cNvPr id="75" name="Rectangle 74">
            <a:extLst>
              <a:ext uri="{FF2B5EF4-FFF2-40B4-BE49-F238E27FC236}">
                <a16:creationId xmlns:a16="http://schemas.microsoft.com/office/drawing/2014/main" id="{6A3279A7-227A-47FB-97AD-761CED8289C7}"/>
              </a:ext>
            </a:extLst>
          </p:cNvPr>
          <p:cNvSpPr/>
          <p:nvPr/>
        </p:nvSpPr>
        <p:spPr>
          <a:xfrm>
            <a:off x="2756403" y="3268745"/>
            <a:ext cx="736867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IN" dirty="0">
                <a:solidFill>
                  <a:schemeClr val="tx1">
                    <a:lumMod val="85000"/>
                    <a:lumOff val="15000"/>
                  </a:schemeClr>
                </a:solidFill>
              </a:rPr>
              <a:t>Organization of fishing communities into cooperatives.</a:t>
            </a:r>
            <a:endParaRPr lang="en-IN" sz="1600" dirty="0">
              <a:solidFill>
                <a:schemeClr val="tx1">
                  <a:lumMod val="85000"/>
                  <a:lumOff val="15000"/>
                </a:schemeClr>
              </a:solidFill>
            </a:endParaRPr>
          </a:p>
        </p:txBody>
      </p:sp>
      <p:sp>
        <p:nvSpPr>
          <p:cNvPr id="79" name="Rectangle 78">
            <a:extLst>
              <a:ext uri="{FF2B5EF4-FFF2-40B4-BE49-F238E27FC236}">
                <a16:creationId xmlns:a16="http://schemas.microsoft.com/office/drawing/2014/main" id="{347C629A-8607-4FFF-AAE7-83D18E384837}"/>
              </a:ext>
            </a:extLst>
          </p:cNvPr>
          <p:cNvSpPr/>
          <p:nvPr/>
        </p:nvSpPr>
        <p:spPr>
          <a:xfrm>
            <a:off x="2840769" y="4991412"/>
            <a:ext cx="800140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dirty="0">
                <a:solidFill>
                  <a:schemeClr val="tx1"/>
                </a:solidFill>
              </a:rPr>
              <a:t>Improved infrastructure (on-shore/off-shore), landing sites, allied facilities and access roads</a:t>
            </a:r>
            <a:endParaRPr lang="en-US" dirty="0">
              <a:solidFill>
                <a:schemeClr val="tx1"/>
              </a:solidFill>
            </a:endParaRPr>
          </a:p>
        </p:txBody>
      </p:sp>
      <p:sp>
        <p:nvSpPr>
          <p:cNvPr id="50" name="Oval 49">
            <a:extLst>
              <a:ext uri="{FF2B5EF4-FFF2-40B4-BE49-F238E27FC236}">
                <a16:creationId xmlns:a16="http://schemas.microsoft.com/office/drawing/2014/main" id="{AB6D654A-CE6B-417E-ABF1-B0EC54E70F67}"/>
              </a:ext>
            </a:extLst>
          </p:cNvPr>
          <p:cNvSpPr/>
          <p:nvPr/>
        </p:nvSpPr>
        <p:spPr>
          <a:xfrm>
            <a:off x="2086791" y="3745609"/>
            <a:ext cx="504000" cy="504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p>
        </p:txBody>
      </p:sp>
      <p:sp>
        <p:nvSpPr>
          <p:cNvPr id="53" name="Oval 52">
            <a:extLst>
              <a:ext uri="{FF2B5EF4-FFF2-40B4-BE49-F238E27FC236}">
                <a16:creationId xmlns:a16="http://schemas.microsoft.com/office/drawing/2014/main" id="{AB6D654A-CE6B-417E-ABF1-B0EC54E70F67}"/>
              </a:ext>
            </a:extLst>
          </p:cNvPr>
          <p:cNvSpPr/>
          <p:nvPr/>
        </p:nvSpPr>
        <p:spPr>
          <a:xfrm>
            <a:off x="2072536" y="4388581"/>
            <a:ext cx="504000" cy="504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p>
        </p:txBody>
      </p:sp>
      <p:sp>
        <p:nvSpPr>
          <p:cNvPr id="74" name="Rectangle 73">
            <a:extLst>
              <a:ext uri="{FF2B5EF4-FFF2-40B4-BE49-F238E27FC236}">
                <a16:creationId xmlns:a16="http://schemas.microsoft.com/office/drawing/2014/main" id="{DF9449A9-9E14-4C25-9365-E8976C682B5B}"/>
              </a:ext>
            </a:extLst>
          </p:cNvPr>
          <p:cNvSpPr/>
          <p:nvPr/>
        </p:nvSpPr>
        <p:spPr>
          <a:xfrm>
            <a:off x="2754503" y="4465526"/>
            <a:ext cx="6999097"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GB" dirty="0">
                <a:solidFill>
                  <a:schemeClr val="tx1"/>
                </a:solidFill>
              </a:rPr>
              <a:t>Integration of small fishing person with end buyers/factories</a:t>
            </a:r>
            <a:endParaRPr lang="en-IN" sz="1600" dirty="0">
              <a:solidFill>
                <a:schemeClr val="tx1"/>
              </a:solidFill>
            </a:endParaRPr>
          </a:p>
        </p:txBody>
      </p:sp>
      <p:sp>
        <p:nvSpPr>
          <p:cNvPr id="82" name="Rectangle 81">
            <a:extLst>
              <a:ext uri="{FF2B5EF4-FFF2-40B4-BE49-F238E27FC236}">
                <a16:creationId xmlns:a16="http://schemas.microsoft.com/office/drawing/2014/main" id="{43750263-56BD-4641-84E6-FCF9426B3389}"/>
              </a:ext>
            </a:extLst>
          </p:cNvPr>
          <p:cNvSpPr/>
          <p:nvPr/>
        </p:nvSpPr>
        <p:spPr>
          <a:xfrm>
            <a:off x="2840768" y="3681730"/>
            <a:ext cx="767985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dirty="0">
                <a:solidFill>
                  <a:schemeClr val="tx1"/>
                </a:solidFill>
              </a:rPr>
              <a:t>Capacity building through technical and business services through advisory services</a:t>
            </a:r>
            <a:r>
              <a:rPr lang="en-US" sz="1600" dirty="0">
                <a:solidFill>
                  <a:schemeClr val="tx1"/>
                </a:solidFill>
              </a:rPr>
              <a:t>.</a:t>
            </a:r>
          </a:p>
        </p:txBody>
      </p:sp>
      <p:sp>
        <p:nvSpPr>
          <p:cNvPr id="92" name="Rectangle 91">
            <a:extLst>
              <a:ext uri="{FF2B5EF4-FFF2-40B4-BE49-F238E27FC236}">
                <a16:creationId xmlns:a16="http://schemas.microsoft.com/office/drawing/2014/main" id="{A8F4757D-BF05-4989-A497-8AF3387F0D8C}"/>
              </a:ext>
            </a:extLst>
          </p:cNvPr>
          <p:cNvSpPr/>
          <p:nvPr/>
        </p:nvSpPr>
        <p:spPr>
          <a:xfrm>
            <a:off x="2878722" y="5865167"/>
            <a:ext cx="675065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dirty="0">
                <a:solidFill>
                  <a:schemeClr val="tx1"/>
                </a:solidFill>
              </a:rPr>
              <a:t>Policy and regulatory framework improvement</a:t>
            </a:r>
            <a:endParaRPr lang="en-US" sz="1600" dirty="0">
              <a:solidFill>
                <a:schemeClr val="tx1"/>
              </a:solidFill>
            </a:endParaRPr>
          </a:p>
        </p:txBody>
      </p:sp>
      <p:grpSp>
        <p:nvGrpSpPr>
          <p:cNvPr id="28" name="Group 27">
            <a:extLst>
              <a:ext uri="{FF2B5EF4-FFF2-40B4-BE49-F238E27FC236}">
                <a16:creationId xmlns:a16="http://schemas.microsoft.com/office/drawing/2014/main" id="{5C2059A7-87E5-4537-B3AA-D57ADE63D9E1}"/>
              </a:ext>
            </a:extLst>
          </p:cNvPr>
          <p:cNvGrpSpPr/>
          <p:nvPr/>
        </p:nvGrpSpPr>
        <p:grpSpPr>
          <a:xfrm>
            <a:off x="2107867" y="4454749"/>
            <a:ext cx="352626" cy="331957"/>
            <a:chOff x="7863580" y="5544801"/>
            <a:chExt cx="766763" cy="721819"/>
          </a:xfrm>
          <a:solidFill>
            <a:schemeClr val="bg1"/>
          </a:solidFill>
        </p:grpSpPr>
        <p:sp>
          <p:nvSpPr>
            <p:cNvPr id="29" name="Freeform 18">
              <a:extLst>
                <a:ext uri="{FF2B5EF4-FFF2-40B4-BE49-F238E27FC236}">
                  <a16:creationId xmlns:a16="http://schemas.microsoft.com/office/drawing/2014/main" id="{B6E01FA2-0ED1-4058-A451-7A2E76489C29}"/>
                </a:ext>
              </a:extLst>
            </p:cNvPr>
            <p:cNvSpPr>
              <a:spLocks noEditPoints="1"/>
            </p:cNvSpPr>
            <p:nvPr/>
          </p:nvSpPr>
          <p:spPr bwMode="auto">
            <a:xfrm>
              <a:off x="8182769" y="5544801"/>
              <a:ext cx="327485" cy="374734"/>
            </a:xfrm>
            <a:custGeom>
              <a:avLst/>
              <a:gdLst>
                <a:gd name="T0" fmla="*/ 12 w 111"/>
                <a:gd name="T1" fmla="*/ 109 h 127"/>
                <a:gd name="T2" fmla="*/ 3 w 111"/>
                <a:gd name="T3" fmla="*/ 108 h 127"/>
                <a:gd name="T4" fmla="*/ 54 w 111"/>
                <a:gd name="T5" fmla="*/ 120 h 127"/>
                <a:gd name="T6" fmla="*/ 63 w 111"/>
                <a:gd name="T7" fmla="*/ 97 h 127"/>
                <a:gd name="T8" fmla="*/ 54 w 111"/>
                <a:gd name="T9" fmla="*/ 79 h 127"/>
                <a:gd name="T10" fmla="*/ 3 w 111"/>
                <a:gd name="T11" fmla="*/ 67 h 127"/>
                <a:gd name="T12" fmla="*/ 12 w 111"/>
                <a:gd name="T13" fmla="*/ 90 h 127"/>
                <a:gd name="T14" fmla="*/ 63 w 111"/>
                <a:gd name="T15" fmla="*/ 77 h 127"/>
                <a:gd name="T16" fmla="*/ 54 w 111"/>
                <a:gd name="T17" fmla="*/ 79 h 127"/>
                <a:gd name="T18" fmla="*/ 12 w 111"/>
                <a:gd name="T19" fmla="*/ 94 h 127"/>
                <a:gd name="T20" fmla="*/ 3 w 111"/>
                <a:gd name="T21" fmla="*/ 93 h 127"/>
                <a:gd name="T22" fmla="*/ 54 w 111"/>
                <a:gd name="T23" fmla="*/ 105 h 127"/>
                <a:gd name="T24" fmla="*/ 63 w 111"/>
                <a:gd name="T25" fmla="*/ 82 h 127"/>
                <a:gd name="T26" fmla="*/ 12 w 111"/>
                <a:gd name="T27" fmla="*/ 73 h 127"/>
                <a:gd name="T28" fmla="*/ 54 w 111"/>
                <a:gd name="T29" fmla="*/ 49 h 127"/>
                <a:gd name="T30" fmla="*/ 12 w 111"/>
                <a:gd name="T31" fmla="*/ 73 h 127"/>
                <a:gd name="T32" fmla="*/ 100 w 111"/>
                <a:gd name="T33" fmla="*/ 31 h 127"/>
                <a:gd name="T34" fmla="*/ 58 w 111"/>
                <a:gd name="T35" fmla="*/ 7 h 127"/>
                <a:gd name="T36" fmla="*/ 100 w 111"/>
                <a:gd name="T37" fmla="*/ 82 h 127"/>
                <a:gd name="T38" fmla="*/ 67 w 111"/>
                <a:gd name="T39" fmla="*/ 96 h 127"/>
                <a:gd name="T40" fmla="*/ 108 w 111"/>
                <a:gd name="T41" fmla="*/ 81 h 127"/>
                <a:gd name="T42" fmla="*/ 100 w 111"/>
                <a:gd name="T43" fmla="*/ 82 h 127"/>
                <a:gd name="T44" fmla="*/ 67 w 111"/>
                <a:gd name="T45" fmla="*/ 56 h 127"/>
                <a:gd name="T46" fmla="*/ 100 w 111"/>
                <a:gd name="T47" fmla="*/ 62 h 127"/>
                <a:gd name="T48" fmla="*/ 108 w 111"/>
                <a:gd name="T49" fmla="*/ 40 h 127"/>
                <a:gd name="T50" fmla="*/ 100 w 111"/>
                <a:gd name="T51" fmla="*/ 37 h 127"/>
                <a:gd name="T52" fmla="*/ 49 w 111"/>
                <a:gd name="T53" fmla="*/ 25 h 127"/>
                <a:gd name="T54" fmla="*/ 58 w 111"/>
                <a:gd name="T55" fmla="*/ 47 h 127"/>
                <a:gd name="T56" fmla="*/ 108 w 111"/>
                <a:gd name="T57" fmla="*/ 35 h 127"/>
                <a:gd name="T58" fmla="*/ 100 w 111"/>
                <a:gd name="T59" fmla="*/ 37 h 127"/>
                <a:gd name="T60" fmla="*/ 67 w 111"/>
                <a:gd name="T61" fmla="*/ 71 h 127"/>
                <a:gd name="T62" fmla="*/ 100 w 111"/>
                <a:gd name="T63" fmla="*/ 78 h 127"/>
                <a:gd name="T64" fmla="*/ 108 w 111"/>
                <a:gd name="T65" fmla="*/ 55 h 127"/>
                <a:gd name="T66" fmla="*/ 100 w 111"/>
                <a:gd name="T67" fmla="*/ 97 h 127"/>
                <a:gd name="T68" fmla="*/ 67 w 111"/>
                <a:gd name="T69" fmla="*/ 112 h 127"/>
                <a:gd name="T70" fmla="*/ 108 w 111"/>
                <a:gd name="T71" fmla="*/ 96 h 127"/>
                <a:gd name="T72" fmla="*/ 100 w 111"/>
                <a:gd name="T73" fmla="*/ 9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127">
                  <a:moveTo>
                    <a:pt x="54" y="109"/>
                  </a:moveTo>
                  <a:cubicBezTo>
                    <a:pt x="42" y="116"/>
                    <a:pt x="24" y="116"/>
                    <a:pt x="12" y="109"/>
                  </a:cubicBezTo>
                  <a:cubicBezTo>
                    <a:pt x="6" y="106"/>
                    <a:pt x="3" y="102"/>
                    <a:pt x="3" y="97"/>
                  </a:cubicBezTo>
                  <a:cubicBezTo>
                    <a:pt x="3" y="108"/>
                    <a:pt x="3" y="108"/>
                    <a:pt x="3" y="108"/>
                  </a:cubicBezTo>
                  <a:cubicBezTo>
                    <a:pt x="3" y="112"/>
                    <a:pt x="6" y="117"/>
                    <a:pt x="12" y="120"/>
                  </a:cubicBezTo>
                  <a:cubicBezTo>
                    <a:pt x="24" y="127"/>
                    <a:pt x="42" y="127"/>
                    <a:pt x="54" y="120"/>
                  </a:cubicBezTo>
                  <a:cubicBezTo>
                    <a:pt x="60" y="117"/>
                    <a:pt x="63" y="112"/>
                    <a:pt x="63" y="108"/>
                  </a:cubicBezTo>
                  <a:cubicBezTo>
                    <a:pt x="63" y="97"/>
                    <a:pt x="63" y="97"/>
                    <a:pt x="63" y="97"/>
                  </a:cubicBezTo>
                  <a:cubicBezTo>
                    <a:pt x="63" y="102"/>
                    <a:pt x="60" y="106"/>
                    <a:pt x="54" y="109"/>
                  </a:cubicBezTo>
                  <a:close/>
                  <a:moveTo>
                    <a:pt x="54" y="79"/>
                  </a:moveTo>
                  <a:cubicBezTo>
                    <a:pt x="42" y="86"/>
                    <a:pt x="24" y="86"/>
                    <a:pt x="12" y="79"/>
                  </a:cubicBezTo>
                  <a:cubicBezTo>
                    <a:pt x="6" y="76"/>
                    <a:pt x="3" y="71"/>
                    <a:pt x="3" y="67"/>
                  </a:cubicBezTo>
                  <a:cubicBezTo>
                    <a:pt x="3" y="77"/>
                    <a:pt x="3" y="77"/>
                    <a:pt x="3" y="77"/>
                  </a:cubicBezTo>
                  <a:cubicBezTo>
                    <a:pt x="3" y="82"/>
                    <a:pt x="6" y="86"/>
                    <a:pt x="12" y="90"/>
                  </a:cubicBezTo>
                  <a:cubicBezTo>
                    <a:pt x="24" y="96"/>
                    <a:pt x="42" y="96"/>
                    <a:pt x="54" y="90"/>
                  </a:cubicBezTo>
                  <a:cubicBezTo>
                    <a:pt x="60" y="86"/>
                    <a:pt x="63" y="82"/>
                    <a:pt x="63" y="77"/>
                  </a:cubicBezTo>
                  <a:cubicBezTo>
                    <a:pt x="63" y="67"/>
                    <a:pt x="63" y="67"/>
                    <a:pt x="63" y="67"/>
                  </a:cubicBezTo>
                  <a:cubicBezTo>
                    <a:pt x="63" y="71"/>
                    <a:pt x="60" y="76"/>
                    <a:pt x="54" y="79"/>
                  </a:cubicBezTo>
                  <a:close/>
                  <a:moveTo>
                    <a:pt x="54" y="94"/>
                  </a:moveTo>
                  <a:cubicBezTo>
                    <a:pt x="42" y="101"/>
                    <a:pt x="24" y="101"/>
                    <a:pt x="12" y="94"/>
                  </a:cubicBezTo>
                  <a:cubicBezTo>
                    <a:pt x="6" y="91"/>
                    <a:pt x="3" y="87"/>
                    <a:pt x="3" y="82"/>
                  </a:cubicBezTo>
                  <a:cubicBezTo>
                    <a:pt x="3" y="93"/>
                    <a:pt x="3" y="93"/>
                    <a:pt x="3" y="93"/>
                  </a:cubicBezTo>
                  <a:cubicBezTo>
                    <a:pt x="3" y="97"/>
                    <a:pt x="6" y="101"/>
                    <a:pt x="12" y="105"/>
                  </a:cubicBezTo>
                  <a:cubicBezTo>
                    <a:pt x="24" y="111"/>
                    <a:pt x="42" y="111"/>
                    <a:pt x="54" y="105"/>
                  </a:cubicBezTo>
                  <a:cubicBezTo>
                    <a:pt x="60" y="101"/>
                    <a:pt x="63" y="97"/>
                    <a:pt x="63" y="93"/>
                  </a:cubicBezTo>
                  <a:cubicBezTo>
                    <a:pt x="63" y="82"/>
                    <a:pt x="63" y="82"/>
                    <a:pt x="63" y="82"/>
                  </a:cubicBezTo>
                  <a:cubicBezTo>
                    <a:pt x="63" y="87"/>
                    <a:pt x="60" y="91"/>
                    <a:pt x="54" y="94"/>
                  </a:cubicBezTo>
                  <a:close/>
                  <a:moveTo>
                    <a:pt x="12" y="73"/>
                  </a:moveTo>
                  <a:cubicBezTo>
                    <a:pt x="24" y="80"/>
                    <a:pt x="42" y="80"/>
                    <a:pt x="54" y="73"/>
                  </a:cubicBezTo>
                  <a:cubicBezTo>
                    <a:pt x="66" y="67"/>
                    <a:pt x="66" y="56"/>
                    <a:pt x="54" y="49"/>
                  </a:cubicBezTo>
                  <a:cubicBezTo>
                    <a:pt x="42" y="42"/>
                    <a:pt x="24" y="42"/>
                    <a:pt x="12" y="49"/>
                  </a:cubicBezTo>
                  <a:cubicBezTo>
                    <a:pt x="0" y="56"/>
                    <a:pt x="0" y="67"/>
                    <a:pt x="12" y="73"/>
                  </a:cubicBezTo>
                  <a:close/>
                  <a:moveTo>
                    <a:pt x="58" y="31"/>
                  </a:moveTo>
                  <a:cubicBezTo>
                    <a:pt x="69" y="38"/>
                    <a:pt x="88" y="38"/>
                    <a:pt x="100" y="31"/>
                  </a:cubicBezTo>
                  <a:cubicBezTo>
                    <a:pt x="111" y="24"/>
                    <a:pt x="111" y="13"/>
                    <a:pt x="100" y="7"/>
                  </a:cubicBezTo>
                  <a:cubicBezTo>
                    <a:pt x="88" y="0"/>
                    <a:pt x="69" y="0"/>
                    <a:pt x="58" y="7"/>
                  </a:cubicBezTo>
                  <a:cubicBezTo>
                    <a:pt x="46" y="13"/>
                    <a:pt x="46" y="24"/>
                    <a:pt x="58" y="31"/>
                  </a:cubicBezTo>
                  <a:close/>
                  <a:moveTo>
                    <a:pt x="100" y="82"/>
                  </a:moveTo>
                  <a:cubicBezTo>
                    <a:pt x="91" y="87"/>
                    <a:pt x="78" y="89"/>
                    <a:pt x="67" y="86"/>
                  </a:cubicBezTo>
                  <a:cubicBezTo>
                    <a:pt x="67" y="96"/>
                    <a:pt x="67" y="96"/>
                    <a:pt x="67" y="96"/>
                  </a:cubicBezTo>
                  <a:cubicBezTo>
                    <a:pt x="78" y="99"/>
                    <a:pt x="91" y="98"/>
                    <a:pt x="100" y="93"/>
                  </a:cubicBezTo>
                  <a:cubicBezTo>
                    <a:pt x="105" y="89"/>
                    <a:pt x="108" y="85"/>
                    <a:pt x="108" y="81"/>
                  </a:cubicBezTo>
                  <a:cubicBezTo>
                    <a:pt x="108" y="70"/>
                    <a:pt x="108" y="70"/>
                    <a:pt x="108" y="70"/>
                  </a:cubicBezTo>
                  <a:cubicBezTo>
                    <a:pt x="108" y="75"/>
                    <a:pt x="105" y="79"/>
                    <a:pt x="100" y="82"/>
                  </a:cubicBezTo>
                  <a:close/>
                  <a:moveTo>
                    <a:pt x="100" y="52"/>
                  </a:moveTo>
                  <a:cubicBezTo>
                    <a:pt x="91" y="57"/>
                    <a:pt x="78" y="58"/>
                    <a:pt x="67" y="56"/>
                  </a:cubicBezTo>
                  <a:cubicBezTo>
                    <a:pt x="67" y="66"/>
                    <a:pt x="67" y="66"/>
                    <a:pt x="67" y="66"/>
                  </a:cubicBezTo>
                  <a:cubicBezTo>
                    <a:pt x="78" y="69"/>
                    <a:pt x="91" y="67"/>
                    <a:pt x="100" y="62"/>
                  </a:cubicBezTo>
                  <a:cubicBezTo>
                    <a:pt x="105" y="59"/>
                    <a:pt x="108" y="55"/>
                    <a:pt x="108" y="50"/>
                  </a:cubicBezTo>
                  <a:cubicBezTo>
                    <a:pt x="108" y="40"/>
                    <a:pt x="108" y="40"/>
                    <a:pt x="108" y="40"/>
                  </a:cubicBezTo>
                  <a:cubicBezTo>
                    <a:pt x="108" y="44"/>
                    <a:pt x="105" y="49"/>
                    <a:pt x="100" y="52"/>
                  </a:cubicBezTo>
                  <a:close/>
                  <a:moveTo>
                    <a:pt x="100" y="37"/>
                  </a:moveTo>
                  <a:cubicBezTo>
                    <a:pt x="88" y="43"/>
                    <a:pt x="69" y="43"/>
                    <a:pt x="58" y="37"/>
                  </a:cubicBezTo>
                  <a:cubicBezTo>
                    <a:pt x="52" y="33"/>
                    <a:pt x="49" y="29"/>
                    <a:pt x="49" y="25"/>
                  </a:cubicBezTo>
                  <a:cubicBezTo>
                    <a:pt x="49" y="35"/>
                    <a:pt x="49" y="35"/>
                    <a:pt x="49" y="35"/>
                  </a:cubicBezTo>
                  <a:cubicBezTo>
                    <a:pt x="49" y="39"/>
                    <a:pt x="52" y="44"/>
                    <a:pt x="58" y="47"/>
                  </a:cubicBezTo>
                  <a:cubicBezTo>
                    <a:pt x="69" y="54"/>
                    <a:pt x="88" y="54"/>
                    <a:pt x="100" y="47"/>
                  </a:cubicBezTo>
                  <a:cubicBezTo>
                    <a:pt x="105" y="44"/>
                    <a:pt x="108" y="39"/>
                    <a:pt x="108" y="35"/>
                  </a:cubicBezTo>
                  <a:cubicBezTo>
                    <a:pt x="108" y="25"/>
                    <a:pt x="108" y="25"/>
                    <a:pt x="108" y="25"/>
                  </a:cubicBezTo>
                  <a:cubicBezTo>
                    <a:pt x="108" y="29"/>
                    <a:pt x="105" y="33"/>
                    <a:pt x="100" y="37"/>
                  </a:cubicBezTo>
                  <a:close/>
                  <a:moveTo>
                    <a:pt x="100" y="67"/>
                  </a:moveTo>
                  <a:cubicBezTo>
                    <a:pt x="91" y="72"/>
                    <a:pt x="78" y="73"/>
                    <a:pt x="67" y="71"/>
                  </a:cubicBezTo>
                  <a:cubicBezTo>
                    <a:pt x="67" y="81"/>
                    <a:pt x="67" y="81"/>
                    <a:pt x="67" y="81"/>
                  </a:cubicBezTo>
                  <a:cubicBezTo>
                    <a:pt x="78" y="84"/>
                    <a:pt x="91" y="83"/>
                    <a:pt x="100" y="78"/>
                  </a:cubicBezTo>
                  <a:cubicBezTo>
                    <a:pt x="105" y="74"/>
                    <a:pt x="108" y="70"/>
                    <a:pt x="108" y="65"/>
                  </a:cubicBezTo>
                  <a:cubicBezTo>
                    <a:pt x="108" y="55"/>
                    <a:pt x="108" y="55"/>
                    <a:pt x="108" y="55"/>
                  </a:cubicBezTo>
                  <a:cubicBezTo>
                    <a:pt x="108" y="59"/>
                    <a:pt x="105" y="64"/>
                    <a:pt x="100" y="67"/>
                  </a:cubicBezTo>
                  <a:close/>
                  <a:moveTo>
                    <a:pt x="100" y="97"/>
                  </a:moveTo>
                  <a:cubicBezTo>
                    <a:pt x="91" y="102"/>
                    <a:pt x="78" y="104"/>
                    <a:pt x="67" y="101"/>
                  </a:cubicBezTo>
                  <a:cubicBezTo>
                    <a:pt x="67" y="112"/>
                    <a:pt x="67" y="112"/>
                    <a:pt x="67" y="112"/>
                  </a:cubicBezTo>
                  <a:cubicBezTo>
                    <a:pt x="78" y="114"/>
                    <a:pt x="91" y="113"/>
                    <a:pt x="100" y="108"/>
                  </a:cubicBezTo>
                  <a:cubicBezTo>
                    <a:pt x="105" y="105"/>
                    <a:pt x="108" y="100"/>
                    <a:pt x="108" y="96"/>
                  </a:cubicBezTo>
                  <a:cubicBezTo>
                    <a:pt x="108" y="85"/>
                    <a:pt x="108" y="85"/>
                    <a:pt x="108" y="85"/>
                  </a:cubicBezTo>
                  <a:cubicBezTo>
                    <a:pt x="108" y="90"/>
                    <a:pt x="105" y="94"/>
                    <a:pt x="100"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a:extLst>
                <a:ext uri="{FF2B5EF4-FFF2-40B4-BE49-F238E27FC236}">
                  <a16:creationId xmlns:a16="http://schemas.microsoft.com/office/drawing/2014/main" id="{D39F194C-AAB3-44B9-A75F-D8B40B36555A}"/>
                </a:ext>
              </a:extLst>
            </p:cNvPr>
            <p:cNvSpPr>
              <a:spLocks/>
            </p:cNvSpPr>
            <p:nvPr/>
          </p:nvSpPr>
          <p:spPr bwMode="auto">
            <a:xfrm flipH="1">
              <a:off x="7863580" y="5931658"/>
              <a:ext cx="766763" cy="334962"/>
            </a:xfrm>
            <a:custGeom>
              <a:avLst/>
              <a:gdLst>
                <a:gd name="T0" fmla="*/ 2596 w 2793"/>
                <a:gd name="T1" fmla="*/ 124 h 1222"/>
                <a:gd name="T2" fmla="*/ 2478 w 2793"/>
                <a:gd name="T3" fmla="*/ 66 h 1222"/>
                <a:gd name="T4" fmla="*/ 2104 w 2793"/>
                <a:gd name="T5" fmla="*/ 28 h 1222"/>
                <a:gd name="T6" fmla="*/ 1727 w 2793"/>
                <a:gd name="T7" fmla="*/ 190 h 1222"/>
                <a:gd name="T8" fmla="*/ 1671 w 2793"/>
                <a:gd name="T9" fmla="*/ 211 h 1222"/>
                <a:gd name="T10" fmla="*/ 1127 w 2793"/>
                <a:gd name="T11" fmla="*/ 210 h 1222"/>
                <a:gd name="T12" fmla="*/ 870 w 2793"/>
                <a:gd name="T13" fmla="*/ 309 h 1222"/>
                <a:gd name="T14" fmla="*/ 832 w 2793"/>
                <a:gd name="T15" fmla="*/ 563 h 1222"/>
                <a:gd name="T16" fmla="*/ 1061 w 2793"/>
                <a:gd name="T17" fmla="*/ 705 h 1222"/>
                <a:gd name="T18" fmla="*/ 1334 w 2793"/>
                <a:gd name="T19" fmla="*/ 712 h 1222"/>
                <a:gd name="T20" fmla="*/ 1764 w 2793"/>
                <a:gd name="T21" fmla="*/ 725 h 1222"/>
                <a:gd name="T22" fmla="*/ 1920 w 2793"/>
                <a:gd name="T23" fmla="*/ 774 h 1222"/>
                <a:gd name="T24" fmla="*/ 1920 w 2793"/>
                <a:gd name="T25" fmla="*/ 787 h 1222"/>
                <a:gd name="T26" fmla="*/ 1677 w 2793"/>
                <a:gd name="T27" fmla="*/ 812 h 1222"/>
                <a:gd name="T28" fmla="*/ 1105 w 2793"/>
                <a:gd name="T29" fmla="*/ 814 h 1222"/>
                <a:gd name="T30" fmla="*/ 1018 w 2793"/>
                <a:gd name="T31" fmla="*/ 804 h 1222"/>
                <a:gd name="T32" fmla="*/ 718 w 2793"/>
                <a:gd name="T33" fmla="*/ 521 h 1222"/>
                <a:gd name="T34" fmla="*/ 700 w 2793"/>
                <a:gd name="T35" fmla="*/ 494 h 1222"/>
                <a:gd name="T36" fmla="*/ 331 w 2793"/>
                <a:gd name="T37" fmla="*/ 138 h 1222"/>
                <a:gd name="T38" fmla="*/ 151 w 2793"/>
                <a:gd name="T39" fmla="*/ 19 h 1222"/>
                <a:gd name="T40" fmla="*/ 23 w 2793"/>
                <a:gd name="T41" fmla="*/ 70 h 1222"/>
                <a:gd name="T42" fmla="*/ 2 w 2793"/>
                <a:gd name="T43" fmla="*/ 181 h 1222"/>
                <a:gd name="T44" fmla="*/ 93 w 2793"/>
                <a:gd name="T45" fmla="*/ 419 h 1222"/>
                <a:gd name="T46" fmla="*/ 483 w 2793"/>
                <a:gd name="T47" fmla="*/ 907 h 1222"/>
                <a:gd name="T48" fmla="*/ 784 w 2793"/>
                <a:gd name="T49" fmla="*/ 1109 h 1222"/>
                <a:gd name="T50" fmla="*/ 1401 w 2793"/>
                <a:gd name="T51" fmla="*/ 1212 h 1222"/>
                <a:gd name="T52" fmla="*/ 1801 w 2793"/>
                <a:gd name="T53" fmla="*/ 1140 h 1222"/>
                <a:gd name="T54" fmla="*/ 2186 w 2793"/>
                <a:gd name="T55" fmla="*/ 980 h 1222"/>
                <a:gd name="T56" fmla="*/ 2433 w 2793"/>
                <a:gd name="T57" fmla="*/ 910 h 1222"/>
                <a:gd name="T58" fmla="*/ 2523 w 2793"/>
                <a:gd name="T59" fmla="*/ 910 h 1222"/>
                <a:gd name="T60" fmla="*/ 2793 w 2793"/>
                <a:gd name="T61" fmla="*/ 910 h 1222"/>
                <a:gd name="T62" fmla="*/ 2793 w 2793"/>
                <a:gd name="T63" fmla="*/ 124 h 1222"/>
                <a:gd name="T64" fmla="*/ 2596 w 2793"/>
                <a:gd name="T65" fmla="*/ 124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3" h="1222">
                  <a:moveTo>
                    <a:pt x="2596" y="124"/>
                  </a:moveTo>
                  <a:cubicBezTo>
                    <a:pt x="2558" y="103"/>
                    <a:pt x="2519" y="82"/>
                    <a:pt x="2478" y="66"/>
                  </a:cubicBezTo>
                  <a:cubicBezTo>
                    <a:pt x="2358" y="17"/>
                    <a:pt x="2232" y="13"/>
                    <a:pt x="2104" y="28"/>
                  </a:cubicBezTo>
                  <a:cubicBezTo>
                    <a:pt x="1962" y="44"/>
                    <a:pt x="1835" y="95"/>
                    <a:pt x="1727" y="190"/>
                  </a:cubicBezTo>
                  <a:cubicBezTo>
                    <a:pt x="1710" y="205"/>
                    <a:pt x="1693" y="211"/>
                    <a:pt x="1671" y="211"/>
                  </a:cubicBezTo>
                  <a:cubicBezTo>
                    <a:pt x="1490" y="210"/>
                    <a:pt x="1308" y="210"/>
                    <a:pt x="1127" y="210"/>
                  </a:cubicBezTo>
                  <a:cubicBezTo>
                    <a:pt x="1029" y="211"/>
                    <a:pt x="941" y="239"/>
                    <a:pt x="870" y="309"/>
                  </a:cubicBezTo>
                  <a:cubicBezTo>
                    <a:pt x="800" y="380"/>
                    <a:pt x="783" y="484"/>
                    <a:pt x="832" y="563"/>
                  </a:cubicBezTo>
                  <a:cubicBezTo>
                    <a:pt x="885" y="647"/>
                    <a:pt x="963" y="696"/>
                    <a:pt x="1061" y="705"/>
                  </a:cubicBezTo>
                  <a:cubicBezTo>
                    <a:pt x="1152" y="713"/>
                    <a:pt x="1243" y="709"/>
                    <a:pt x="1334" y="712"/>
                  </a:cubicBezTo>
                  <a:cubicBezTo>
                    <a:pt x="1478" y="715"/>
                    <a:pt x="1621" y="718"/>
                    <a:pt x="1764" y="725"/>
                  </a:cubicBezTo>
                  <a:cubicBezTo>
                    <a:pt x="1819" y="728"/>
                    <a:pt x="1871" y="748"/>
                    <a:pt x="1920" y="774"/>
                  </a:cubicBezTo>
                  <a:cubicBezTo>
                    <a:pt x="1920" y="778"/>
                    <a:pt x="1920" y="782"/>
                    <a:pt x="1920" y="787"/>
                  </a:cubicBezTo>
                  <a:cubicBezTo>
                    <a:pt x="1839" y="796"/>
                    <a:pt x="1758" y="810"/>
                    <a:pt x="1677" y="812"/>
                  </a:cubicBezTo>
                  <a:cubicBezTo>
                    <a:pt x="1486" y="816"/>
                    <a:pt x="1295" y="814"/>
                    <a:pt x="1105" y="814"/>
                  </a:cubicBezTo>
                  <a:cubicBezTo>
                    <a:pt x="1076" y="814"/>
                    <a:pt x="1046" y="811"/>
                    <a:pt x="1018" y="804"/>
                  </a:cubicBezTo>
                  <a:cubicBezTo>
                    <a:pt x="866" y="766"/>
                    <a:pt x="756" y="682"/>
                    <a:pt x="718" y="521"/>
                  </a:cubicBezTo>
                  <a:cubicBezTo>
                    <a:pt x="716" y="511"/>
                    <a:pt x="707" y="501"/>
                    <a:pt x="700" y="494"/>
                  </a:cubicBezTo>
                  <a:cubicBezTo>
                    <a:pt x="577" y="375"/>
                    <a:pt x="455" y="256"/>
                    <a:pt x="331" y="138"/>
                  </a:cubicBezTo>
                  <a:cubicBezTo>
                    <a:pt x="278" y="88"/>
                    <a:pt x="222" y="43"/>
                    <a:pt x="151" y="19"/>
                  </a:cubicBezTo>
                  <a:cubicBezTo>
                    <a:pt x="93" y="0"/>
                    <a:pt x="48" y="14"/>
                    <a:pt x="23" y="70"/>
                  </a:cubicBezTo>
                  <a:cubicBezTo>
                    <a:pt x="8" y="103"/>
                    <a:pt x="0" y="144"/>
                    <a:pt x="2" y="181"/>
                  </a:cubicBezTo>
                  <a:cubicBezTo>
                    <a:pt x="8" y="268"/>
                    <a:pt x="40" y="350"/>
                    <a:pt x="93" y="419"/>
                  </a:cubicBezTo>
                  <a:cubicBezTo>
                    <a:pt x="220" y="584"/>
                    <a:pt x="353" y="744"/>
                    <a:pt x="483" y="907"/>
                  </a:cubicBezTo>
                  <a:cubicBezTo>
                    <a:pt x="562" y="1006"/>
                    <a:pt x="665" y="1069"/>
                    <a:pt x="784" y="1109"/>
                  </a:cubicBezTo>
                  <a:cubicBezTo>
                    <a:pt x="984" y="1178"/>
                    <a:pt x="1191" y="1198"/>
                    <a:pt x="1401" y="1212"/>
                  </a:cubicBezTo>
                  <a:cubicBezTo>
                    <a:pt x="1542" y="1222"/>
                    <a:pt x="1673" y="1194"/>
                    <a:pt x="1801" y="1140"/>
                  </a:cubicBezTo>
                  <a:cubicBezTo>
                    <a:pt x="1929" y="1087"/>
                    <a:pt x="2058" y="1034"/>
                    <a:pt x="2186" y="980"/>
                  </a:cubicBezTo>
                  <a:cubicBezTo>
                    <a:pt x="2266" y="947"/>
                    <a:pt x="2348" y="921"/>
                    <a:pt x="2433" y="910"/>
                  </a:cubicBezTo>
                  <a:cubicBezTo>
                    <a:pt x="2523" y="910"/>
                    <a:pt x="2523" y="910"/>
                    <a:pt x="2523" y="910"/>
                  </a:cubicBezTo>
                  <a:cubicBezTo>
                    <a:pt x="2793" y="910"/>
                    <a:pt x="2793" y="910"/>
                    <a:pt x="2793" y="910"/>
                  </a:cubicBezTo>
                  <a:cubicBezTo>
                    <a:pt x="2793" y="124"/>
                    <a:pt x="2793" y="124"/>
                    <a:pt x="2793" y="124"/>
                  </a:cubicBezTo>
                  <a:lnTo>
                    <a:pt x="2596"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 name="Group 30">
            <a:extLst>
              <a:ext uri="{FF2B5EF4-FFF2-40B4-BE49-F238E27FC236}">
                <a16:creationId xmlns:a16="http://schemas.microsoft.com/office/drawing/2014/main" id="{DFCE8E6C-2ABE-46F8-AC25-2542E35CF11A}"/>
              </a:ext>
            </a:extLst>
          </p:cNvPr>
          <p:cNvGrpSpPr/>
          <p:nvPr/>
        </p:nvGrpSpPr>
        <p:grpSpPr>
          <a:xfrm>
            <a:off x="2175058" y="3845064"/>
            <a:ext cx="283535" cy="262302"/>
            <a:chOff x="2046288" y="3646488"/>
            <a:chExt cx="360363" cy="333376"/>
          </a:xfrm>
          <a:solidFill>
            <a:schemeClr val="bg1"/>
          </a:solidFill>
        </p:grpSpPr>
        <p:sp>
          <p:nvSpPr>
            <p:cNvPr id="32" name="Freeform 15">
              <a:extLst>
                <a:ext uri="{FF2B5EF4-FFF2-40B4-BE49-F238E27FC236}">
                  <a16:creationId xmlns:a16="http://schemas.microsoft.com/office/drawing/2014/main" id="{55E4C5D9-C907-4862-97DF-7C775B98412A}"/>
                </a:ext>
              </a:extLst>
            </p:cNvPr>
            <p:cNvSpPr>
              <a:spLocks/>
            </p:cNvSpPr>
            <p:nvPr/>
          </p:nvSpPr>
          <p:spPr bwMode="auto">
            <a:xfrm>
              <a:off x="2051051" y="3879851"/>
              <a:ext cx="63500" cy="100013"/>
            </a:xfrm>
            <a:custGeom>
              <a:avLst/>
              <a:gdLst>
                <a:gd name="T0" fmla="*/ 0 w 226"/>
                <a:gd name="T1" fmla="*/ 106 h 348"/>
                <a:gd name="T2" fmla="*/ 0 w 226"/>
                <a:gd name="T3" fmla="*/ 316 h 348"/>
                <a:gd name="T4" fmla="*/ 40 w 226"/>
                <a:gd name="T5" fmla="*/ 348 h 348"/>
                <a:gd name="T6" fmla="*/ 187 w 226"/>
                <a:gd name="T7" fmla="*/ 348 h 348"/>
                <a:gd name="T8" fmla="*/ 226 w 226"/>
                <a:gd name="T9" fmla="*/ 316 h 348"/>
                <a:gd name="T10" fmla="*/ 226 w 226"/>
                <a:gd name="T11" fmla="*/ 0 h 348"/>
                <a:gd name="T12" fmla="*/ 137 w 226"/>
                <a:gd name="T13" fmla="*/ 89 h 348"/>
                <a:gd name="T14" fmla="*/ 58 w 226"/>
                <a:gd name="T15" fmla="*/ 122 h 348"/>
                <a:gd name="T16" fmla="*/ 0 w 226"/>
                <a:gd name="T17" fmla="*/ 10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348">
                  <a:moveTo>
                    <a:pt x="0" y="106"/>
                  </a:moveTo>
                  <a:cubicBezTo>
                    <a:pt x="0" y="316"/>
                    <a:pt x="0" y="316"/>
                    <a:pt x="0" y="316"/>
                  </a:cubicBezTo>
                  <a:cubicBezTo>
                    <a:pt x="0" y="334"/>
                    <a:pt x="18" y="348"/>
                    <a:pt x="40" y="348"/>
                  </a:cubicBezTo>
                  <a:cubicBezTo>
                    <a:pt x="187" y="348"/>
                    <a:pt x="187" y="348"/>
                    <a:pt x="187" y="348"/>
                  </a:cubicBezTo>
                  <a:cubicBezTo>
                    <a:pt x="208" y="348"/>
                    <a:pt x="226" y="334"/>
                    <a:pt x="226" y="316"/>
                  </a:cubicBezTo>
                  <a:cubicBezTo>
                    <a:pt x="226" y="0"/>
                    <a:pt x="226" y="0"/>
                    <a:pt x="226" y="0"/>
                  </a:cubicBezTo>
                  <a:cubicBezTo>
                    <a:pt x="137" y="89"/>
                    <a:pt x="137" y="89"/>
                    <a:pt x="137" y="89"/>
                  </a:cubicBezTo>
                  <a:cubicBezTo>
                    <a:pt x="116" y="110"/>
                    <a:pt x="88" y="122"/>
                    <a:pt x="58" y="122"/>
                  </a:cubicBezTo>
                  <a:cubicBezTo>
                    <a:pt x="37" y="122"/>
                    <a:pt x="18" y="116"/>
                    <a:pt x="0"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6">
              <a:extLst>
                <a:ext uri="{FF2B5EF4-FFF2-40B4-BE49-F238E27FC236}">
                  <a16:creationId xmlns:a16="http://schemas.microsoft.com/office/drawing/2014/main" id="{4A6564B4-8D6E-49DC-8D58-26DCEB296084}"/>
                </a:ext>
              </a:extLst>
            </p:cNvPr>
            <p:cNvSpPr>
              <a:spLocks/>
            </p:cNvSpPr>
            <p:nvPr/>
          </p:nvSpPr>
          <p:spPr bwMode="auto">
            <a:xfrm>
              <a:off x="2147888" y="3798888"/>
              <a:ext cx="63500" cy="180975"/>
            </a:xfrm>
            <a:custGeom>
              <a:avLst/>
              <a:gdLst>
                <a:gd name="T0" fmla="*/ 0 w 226"/>
                <a:gd name="T1" fmla="*/ 168 h 628"/>
                <a:gd name="T2" fmla="*/ 0 w 226"/>
                <a:gd name="T3" fmla="*/ 576 h 628"/>
                <a:gd name="T4" fmla="*/ 40 w 226"/>
                <a:gd name="T5" fmla="*/ 628 h 628"/>
                <a:gd name="T6" fmla="*/ 187 w 226"/>
                <a:gd name="T7" fmla="*/ 628 h 628"/>
                <a:gd name="T8" fmla="*/ 226 w 226"/>
                <a:gd name="T9" fmla="*/ 576 h 628"/>
                <a:gd name="T10" fmla="*/ 226 w 226"/>
                <a:gd name="T11" fmla="*/ 57 h 628"/>
                <a:gd name="T12" fmla="*/ 169 w 226"/>
                <a:gd name="T13" fmla="*/ 0 h 628"/>
                <a:gd name="T14" fmla="*/ 0 w 226"/>
                <a:gd name="T15" fmla="*/ 168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628">
                  <a:moveTo>
                    <a:pt x="0" y="168"/>
                  </a:moveTo>
                  <a:cubicBezTo>
                    <a:pt x="0" y="576"/>
                    <a:pt x="0" y="576"/>
                    <a:pt x="0" y="576"/>
                  </a:cubicBezTo>
                  <a:cubicBezTo>
                    <a:pt x="0" y="605"/>
                    <a:pt x="18" y="628"/>
                    <a:pt x="40" y="628"/>
                  </a:cubicBezTo>
                  <a:cubicBezTo>
                    <a:pt x="187" y="628"/>
                    <a:pt x="187" y="628"/>
                    <a:pt x="187" y="628"/>
                  </a:cubicBezTo>
                  <a:cubicBezTo>
                    <a:pt x="208" y="628"/>
                    <a:pt x="226" y="605"/>
                    <a:pt x="226" y="576"/>
                  </a:cubicBezTo>
                  <a:cubicBezTo>
                    <a:pt x="226" y="57"/>
                    <a:pt x="226" y="57"/>
                    <a:pt x="226" y="57"/>
                  </a:cubicBezTo>
                  <a:cubicBezTo>
                    <a:pt x="169" y="0"/>
                    <a:pt x="169" y="0"/>
                    <a:pt x="169" y="0"/>
                  </a:cubicBez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7">
              <a:extLst>
                <a:ext uri="{FF2B5EF4-FFF2-40B4-BE49-F238E27FC236}">
                  <a16:creationId xmlns:a16="http://schemas.microsoft.com/office/drawing/2014/main" id="{4D7BE29B-D5BA-49B0-AF47-7F07B3474C35}"/>
                </a:ext>
              </a:extLst>
            </p:cNvPr>
            <p:cNvSpPr>
              <a:spLocks/>
            </p:cNvSpPr>
            <p:nvPr/>
          </p:nvSpPr>
          <p:spPr bwMode="auto">
            <a:xfrm>
              <a:off x="2244726" y="3790951"/>
              <a:ext cx="63500" cy="188913"/>
            </a:xfrm>
            <a:custGeom>
              <a:avLst/>
              <a:gdLst>
                <a:gd name="T0" fmla="*/ 0 w 226"/>
                <a:gd name="T1" fmla="*/ 164 h 656"/>
                <a:gd name="T2" fmla="*/ 0 w 226"/>
                <a:gd name="T3" fmla="*/ 619 h 656"/>
                <a:gd name="T4" fmla="*/ 40 w 226"/>
                <a:gd name="T5" fmla="*/ 656 h 656"/>
                <a:gd name="T6" fmla="*/ 186 w 226"/>
                <a:gd name="T7" fmla="*/ 656 h 656"/>
                <a:gd name="T8" fmla="*/ 226 w 226"/>
                <a:gd name="T9" fmla="*/ 619 h 656"/>
                <a:gd name="T10" fmla="*/ 226 w 226"/>
                <a:gd name="T11" fmla="*/ 0 h 656"/>
                <a:gd name="T12" fmla="*/ 94 w 226"/>
                <a:gd name="T13" fmla="*/ 132 h 656"/>
                <a:gd name="T14" fmla="*/ 15 w 226"/>
                <a:gd name="T15" fmla="*/ 165 h 656"/>
                <a:gd name="T16" fmla="*/ 0 w 226"/>
                <a:gd name="T17" fmla="*/ 164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656">
                  <a:moveTo>
                    <a:pt x="0" y="164"/>
                  </a:moveTo>
                  <a:cubicBezTo>
                    <a:pt x="0" y="619"/>
                    <a:pt x="0" y="619"/>
                    <a:pt x="0" y="619"/>
                  </a:cubicBezTo>
                  <a:cubicBezTo>
                    <a:pt x="0" y="640"/>
                    <a:pt x="18" y="656"/>
                    <a:pt x="40" y="656"/>
                  </a:cubicBezTo>
                  <a:cubicBezTo>
                    <a:pt x="186" y="656"/>
                    <a:pt x="186" y="656"/>
                    <a:pt x="186" y="656"/>
                  </a:cubicBezTo>
                  <a:cubicBezTo>
                    <a:pt x="208" y="656"/>
                    <a:pt x="226" y="640"/>
                    <a:pt x="226" y="619"/>
                  </a:cubicBezTo>
                  <a:cubicBezTo>
                    <a:pt x="226" y="0"/>
                    <a:pt x="226" y="0"/>
                    <a:pt x="226" y="0"/>
                  </a:cubicBezTo>
                  <a:cubicBezTo>
                    <a:pt x="94" y="132"/>
                    <a:pt x="94" y="132"/>
                    <a:pt x="94" y="132"/>
                  </a:cubicBezTo>
                  <a:cubicBezTo>
                    <a:pt x="73" y="153"/>
                    <a:pt x="44" y="165"/>
                    <a:pt x="15" y="165"/>
                  </a:cubicBezTo>
                  <a:cubicBezTo>
                    <a:pt x="10" y="165"/>
                    <a:pt x="5" y="165"/>
                    <a:pt x="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8">
              <a:extLst>
                <a:ext uri="{FF2B5EF4-FFF2-40B4-BE49-F238E27FC236}">
                  <a16:creationId xmlns:a16="http://schemas.microsoft.com/office/drawing/2014/main" id="{26076BD8-821D-4673-B566-E19887F13C2E}"/>
                </a:ext>
              </a:extLst>
            </p:cNvPr>
            <p:cNvSpPr>
              <a:spLocks/>
            </p:cNvSpPr>
            <p:nvPr/>
          </p:nvSpPr>
          <p:spPr bwMode="auto">
            <a:xfrm>
              <a:off x="2341563" y="3736976"/>
              <a:ext cx="63500" cy="242888"/>
            </a:xfrm>
            <a:custGeom>
              <a:avLst/>
              <a:gdLst>
                <a:gd name="T0" fmla="*/ 78 w 226"/>
                <a:gd name="T1" fmla="*/ 0 h 846"/>
                <a:gd name="T2" fmla="*/ 0 w 226"/>
                <a:gd name="T3" fmla="*/ 78 h 846"/>
                <a:gd name="T4" fmla="*/ 0 w 226"/>
                <a:gd name="T5" fmla="*/ 807 h 846"/>
                <a:gd name="T6" fmla="*/ 40 w 226"/>
                <a:gd name="T7" fmla="*/ 846 h 846"/>
                <a:gd name="T8" fmla="*/ 186 w 226"/>
                <a:gd name="T9" fmla="*/ 846 h 846"/>
                <a:gd name="T10" fmla="*/ 226 w 226"/>
                <a:gd name="T11" fmla="*/ 807 h 846"/>
                <a:gd name="T12" fmla="*/ 226 w 226"/>
                <a:gd name="T13" fmla="*/ 56 h 846"/>
                <a:gd name="T14" fmla="*/ 173 w 226"/>
                <a:gd name="T15" fmla="*/ 71 h 846"/>
                <a:gd name="T16" fmla="*/ 78 w 226"/>
                <a:gd name="T17"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846">
                  <a:moveTo>
                    <a:pt x="78" y="0"/>
                  </a:moveTo>
                  <a:cubicBezTo>
                    <a:pt x="0" y="78"/>
                    <a:pt x="0" y="78"/>
                    <a:pt x="0" y="78"/>
                  </a:cubicBezTo>
                  <a:cubicBezTo>
                    <a:pt x="0" y="807"/>
                    <a:pt x="0" y="807"/>
                    <a:pt x="0" y="807"/>
                  </a:cubicBezTo>
                  <a:cubicBezTo>
                    <a:pt x="0" y="829"/>
                    <a:pt x="18" y="846"/>
                    <a:pt x="40" y="846"/>
                  </a:cubicBezTo>
                  <a:cubicBezTo>
                    <a:pt x="186" y="846"/>
                    <a:pt x="186" y="846"/>
                    <a:pt x="186" y="846"/>
                  </a:cubicBezTo>
                  <a:cubicBezTo>
                    <a:pt x="208" y="846"/>
                    <a:pt x="226" y="829"/>
                    <a:pt x="226" y="807"/>
                  </a:cubicBezTo>
                  <a:cubicBezTo>
                    <a:pt x="226" y="56"/>
                    <a:pt x="226" y="56"/>
                    <a:pt x="226" y="56"/>
                  </a:cubicBezTo>
                  <a:cubicBezTo>
                    <a:pt x="210" y="65"/>
                    <a:pt x="193" y="71"/>
                    <a:pt x="173" y="71"/>
                  </a:cubicBezTo>
                  <a:cubicBezTo>
                    <a:pt x="129" y="71"/>
                    <a:pt x="91" y="41"/>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9">
              <a:extLst>
                <a:ext uri="{FF2B5EF4-FFF2-40B4-BE49-F238E27FC236}">
                  <a16:creationId xmlns:a16="http://schemas.microsoft.com/office/drawing/2014/main" id="{32FF431F-09ED-4AED-8E72-35FDE326601D}"/>
                </a:ext>
              </a:extLst>
            </p:cNvPr>
            <p:cNvSpPr>
              <a:spLocks/>
            </p:cNvSpPr>
            <p:nvPr/>
          </p:nvSpPr>
          <p:spPr bwMode="auto">
            <a:xfrm>
              <a:off x="2046288" y="3646488"/>
              <a:ext cx="360363" cy="254000"/>
            </a:xfrm>
            <a:custGeom>
              <a:avLst/>
              <a:gdLst>
                <a:gd name="T0" fmla="*/ 73 w 1256"/>
                <a:gd name="T1" fmla="*/ 890 h 890"/>
                <a:gd name="T2" fmla="*/ 119 w 1256"/>
                <a:gd name="T3" fmla="*/ 871 h 890"/>
                <a:gd name="T4" fmla="*/ 522 w 1256"/>
                <a:gd name="T5" fmla="*/ 469 h 890"/>
                <a:gd name="T6" fmla="*/ 659 w 1256"/>
                <a:gd name="T7" fmla="*/ 606 h 890"/>
                <a:gd name="T8" fmla="*/ 706 w 1256"/>
                <a:gd name="T9" fmla="*/ 626 h 890"/>
                <a:gd name="T10" fmla="*/ 752 w 1256"/>
                <a:gd name="T11" fmla="*/ 606 h 890"/>
                <a:gd name="T12" fmla="*/ 1150 w 1256"/>
                <a:gd name="T13" fmla="*/ 209 h 890"/>
                <a:gd name="T14" fmla="*/ 1150 w 1256"/>
                <a:gd name="T15" fmla="*/ 288 h 890"/>
                <a:gd name="T16" fmla="*/ 1202 w 1256"/>
                <a:gd name="T17" fmla="*/ 341 h 890"/>
                <a:gd name="T18" fmla="*/ 1255 w 1256"/>
                <a:gd name="T19" fmla="*/ 288 h 890"/>
                <a:gd name="T20" fmla="*/ 1255 w 1256"/>
                <a:gd name="T21" fmla="*/ 85 h 890"/>
                <a:gd name="T22" fmla="*/ 1255 w 1256"/>
                <a:gd name="T23" fmla="*/ 64 h 890"/>
                <a:gd name="T24" fmla="*/ 1255 w 1256"/>
                <a:gd name="T25" fmla="*/ 53 h 890"/>
                <a:gd name="T26" fmla="*/ 1202 w 1256"/>
                <a:gd name="T27" fmla="*/ 0 h 890"/>
                <a:gd name="T28" fmla="*/ 963 w 1256"/>
                <a:gd name="T29" fmla="*/ 0 h 890"/>
                <a:gd name="T30" fmla="*/ 910 w 1256"/>
                <a:gd name="T31" fmla="*/ 53 h 890"/>
                <a:gd name="T32" fmla="*/ 963 w 1256"/>
                <a:gd name="T33" fmla="*/ 106 h 890"/>
                <a:gd name="T34" fmla="*/ 1065 w 1256"/>
                <a:gd name="T35" fmla="*/ 106 h 890"/>
                <a:gd name="T36" fmla="*/ 705 w 1256"/>
                <a:gd name="T37" fmla="*/ 466 h 890"/>
                <a:gd name="T38" fmla="*/ 568 w 1256"/>
                <a:gd name="T39" fmla="*/ 329 h 890"/>
                <a:gd name="T40" fmla="*/ 522 w 1256"/>
                <a:gd name="T41" fmla="*/ 309 h 890"/>
                <a:gd name="T42" fmla="*/ 475 w 1256"/>
                <a:gd name="T43" fmla="*/ 329 h 890"/>
                <a:gd name="T44" fmla="*/ 26 w 1256"/>
                <a:gd name="T45" fmla="*/ 777 h 890"/>
                <a:gd name="T46" fmla="*/ 26 w 1256"/>
                <a:gd name="T47" fmla="*/ 871 h 890"/>
                <a:gd name="T48" fmla="*/ 73 w 1256"/>
                <a:gd name="T49" fmla="*/ 89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6" h="890">
                  <a:moveTo>
                    <a:pt x="73" y="890"/>
                  </a:moveTo>
                  <a:cubicBezTo>
                    <a:pt x="90" y="890"/>
                    <a:pt x="107" y="884"/>
                    <a:pt x="119" y="871"/>
                  </a:cubicBezTo>
                  <a:cubicBezTo>
                    <a:pt x="522" y="469"/>
                    <a:pt x="522" y="469"/>
                    <a:pt x="522" y="469"/>
                  </a:cubicBezTo>
                  <a:cubicBezTo>
                    <a:pt x="659" y="606"/>
                    <a:pt x="659" y="606"/>
                    <a:pt x="659" y="606"/>
                  </a:cubicBezTo>
                  <a:cubicBezTo>
                    <a:pt x="671" y="619"/>
                    <a:pt x="688" y="626"/>
                    <a:pt x="706" y="626"/>
                  </a:cubicBezTo>
                  <a:cubicBezTo>
                    <a:pt x="723" y="626"/>
                    <a:pt x="740" y="619"/>
                    <a:pt x="752" y="606"/>
                  </a:cubicBezTo>
                  <a:cubicBezTo>
                    <a:pt x="1150" y="209"/>
                    <a:pt x="1150" y="209"/>
                    <a:pt x="1150" y="209"/>
                  </a:cubicBezTo>
                  <a:cubicBezTo>
                    <a:pt x="1150" y="288"/>
                    <a:pt x="1150" y="288"/>
                    <a:pt x="1150" y="288"/>
                  </a:cubicBezTo>
                  <a:cubicBezTo>
                    <a:pt x="1150" y="317"/>
                    <a:pt x="1173" y="341"/>
                    <a:pt x="1202" y="341"/>
                  </a:cubicBezTo>
                  <a:cubicBezTo>
                    <a:pt x="1232" y="341"/>
                    <a:pt x="1255" y="317"/>
                    <a:pt x="1255" y="288"/>
                  </a:cubicBezTo>
                  <a:cubicBezTo>
                    <a:pt x="1255" y="85"/>
                    <a:pt x="1255" y="85"/>
                    <a:pt x="1255" y="85"/>
                  </a:cubicBezTo>
                  <a:cubicBezTo>
                    <a:pt x="1256" y="78"/>
                    <a:pt x="1256" y="71"/>
                    <a:pt x="1255" y="64"/>
                  </a:cubicBezTo>
                  <a:cubicBezTo>
                    <a:pt x="1255" y="53"/>
                    <a:pt x="1255" y="53"/>
                    <a:pt x="1255" y="53"/>
                  </a:cubicBezTo>
                  <a:cubicBezTo>
                    <a:pt x="1255" y="24"/>
                    <a:pt x="1232" y="0"/>
                    <a:pt x="1202" y="0"/>
                  </a:cubicBezTo>
                  <a:cubicBezTo>
                    <a:pt x="963" y="0"/>
                    <a:pt x="963" y="0"/>
                    <a:pt x="963" y="0"/>
                  </a:cubicBezTo>
                  <a:cubicBezTo>
                    <a:pt x="934" y="0"/>
                    <a:pt x="910" y="24"/>
                    <a:pt x="910" y="53"/>
                  </a:cubicBezTo>
                  <a:cubicBezTo>
                    <a:pt x="910" y="82"/>
                    <a:pt x="934" y="106"/>
                    <a:pt x="963" y="106"/>
                  </a:cubicBezTo>
                  <a:cubicBezTo>
                    <a:pt x="1065" y="106"/>
                    <a:pt x="1065" y="106"/>
                    <a:pt x="1065" y="106"/>
                  </a:cubicBezTo>
                  <a:cubicBezTo>
                    <a:pt x="705" y="466"/>
                    <a:pt x="705" y="466"/>
                    <a:pt x="705" y="466"/>
                  </a:cubicBezTo>
                  <a:cubicBezTo>
                    <a:pt x="568" y="329"/>
                    <a:pt x="568" y="329"/>
                    <a:pt x="568" y="329"/>
                  </a:cubicBezTo>
                  <a:cubicBezTo>
                    <a:pt x="555" y="316"/>
                    <a:pt x="538" y="309"/>
                    <a:pt x="522" y="309"/>
                  </a:cubicBezTo>
                  <a:cubicBezTo>
                    <a:pt x="505" y="309"/>
                    <a:pt x="488" y="316"/>
                    <a:pt x="475" y="329"/>
                  </a:cubicBezTo>
                  <a:cubicBezTo>
                    <a:pt x="26" y="777"/>
                    <a:pt x="26" y="777"/>
                    <a:pt x="26" y="777"/>
                  </a:cubicBezTo>
                  <a:cubicBezTo>
                    <a:pt x="0" y="803"/>
                    <a:pt x="0" y="845"/>
                    <a:pt x="26" y="871"/>
                  </a:cubicBezTo>
                  <a:cubicBezTo>
                    <a:pt x="39" y="884"/>
                    <a:pt x="56" y="890"/>
                    <a:pt x="73" y="8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DB38479F-D6C9-418B-BB0D-5EE9E44943DD}"/>
              </a:ext>
            </a:extLst>
          </p:cNvPr>
          <p:cNvGrpSpPr/>
          <p:nvPr/>
        </p:nvGrpSpPr>
        <p:grpSpPr>
          <a:xfrm>
            <a:off x="2139704" y="5839144"/>
            <a:ext cx="348167" cy="320889"/>
            <a:chOff x="3632268" y="1678469"/>
            <a:chExt cx="1322165" cy="1218572"/>
          </a:xfrm>
          <a:solidFill>
            <a:schemeClr val="bg1"/>
          </a:solidFill>
        </p:grpSpPr>
        <p:sp>
          <p:nvSpPr>
            <p:cNvPr id="38" name="Freeform 72">
              <a:extLst>
                <a:ext uri="{FF2B5EF4-FFF2-40B4-BE49-F238E27FC236}">
                  <a16:creationId xmlns:a16="http://schemas.microsoft.com/office/drawing/2014/main" id="{1DCB2F5B-5844-47D7-A320-EF7DE769DEE8}"/>
                </a:ext>
              </a:extLst>
            </p:cNvPr>
            <p:cNvSpPr>
              <a:spLocks noEditPoints="1"/>
            </p:cNvSpPr>
            <p:nvPr/>
          </p:nvSpPr>
          <p:spPr bwMode="auto">
            <a:xfrm>
              <a:off x="3632268" y="1791889"/>
              <a:ext cx="752920" cy="745334"/>
            </a:xfrm>
            <a:custGeom>
              <a:avLst/>
              <a:gdLst>
                <a:gd name="T0" fmla="*/ 113 w 113"/>
                <a:gd name="T1" fmla="*/ 53 h 112"/>
                <a:gd name="T2" fmla="*/ 109 w 113"/>
                <a:gd name="T3" fmla="*/ 49 h 112"/>
                <a:gd name="T4" fmla="*/ 97 w 113"/>
                <a:gd name="T5" fmla="*/ 48 h 112"/>
                <a:gd name="T6" fmla="*/ 91 w 113"/>
                <a:gd name="T7" fmla="*/ 34 h 112"/>
                <a:gd name="T8" fmla="*/ 99 w 113"/>
                <a:gd name="T9" fmla="*/ 25 h 112"/>
                <a:gd name="T10" fmla="*/ 99 w 113"/>
                <a:gd name="T11" fmla="*/ 19 h 112"/>
                <a:gd name="T12" fmla="*/ 94 w 113"/>
                <a:gd name="T13" fmla="*/ 14 h 112"/>
                <a:gd name="T14" fmla="*/ 88 w 113"/>
                <a:gd name="T15" fmla="*/ 14 h 112"/>
                <a:gd name="T16" fmla="*/ 79 w 113"/>
                <a:gd name="T17" fmla="*/ 22 h 112"/>
                <a:gd name="T18" fmla="*/ 65 w 113"/>
                <a:gd name="T19" fmla="*/ 16 h 112"/>
                <a:gd name="T20" fmla="*/ 64 w 113"/>
                <a:gd name="T21" fmla="*/ 4 h 112"/>
                <a:gd name="T22" fmla="*/ 60 w 113"/>
                <a:gd name="T23" fmla="*/ 0 h 112"/>
                <a:gd name="T24" fmla="*/ 53 w 113"/>
                <a:gd name="T25" fmla="*/ 0 h 112"/>
                <a:gd name="T26" fmla="*/ 49 w 113"/>
                <a:gd name="T27" fmla="*/ 4 h 112"/>
                <a:gd name="T28" fmla="*/ 48 w 113"/>
                <a:gd name="T29" fmla="*/ 16 h 112"/>
                <a:gd name="T30" fmla="*/ 34 w 113"/>
                <a:gd name="T31" fmla="*/ 22 h 112"/>
                <a:gd name="T32" fmla="*/ 25 w 113"/>
                <a:gd name="T33" fmla="*/ 14 h 112"/>
                <a:gd name="T34" fmla="*/ 19 w 113"/>
                <a:gd name="T35" fmla="*/ 14 h 112"/>
                <a:gd name="T36" fmla="*/ 14 w 113"/>
                <a:gd name="T37" fmla="*/ 19 h 112"/>
                <a:gd name="T38" fmla="*/ 14 w 113"/>
                <a:gd name="T39" fmla="*/ 25 h 112"/>
                <a:gd name="T40" fmla="*/ 22 w 113"/>
                <a:gd name="T41" fmla="*/ 34 h 112"/>
                <a:gd name="T42" fmla="*/ 16 w 113"/>
                <a:gd name="T43" fmla="*/ 48 h 112"/>
                <a:gd name="T44" fmla="*/ 4 w 113"/>
                <a:gd name="T45" fmla="*/ 49 h 112"/>
                <a:gd name="T46" fmla="*/ 0 w 113"/>
                <a:gd name="T47" fmla="*/ 53 h 112"/>
                <a:gd name="T48" fmla="*/ 0 w 113"/>
                <a:gd name="T49" fmla="*/ 60 h 112"/>
                <a:gd name="T50" fmla="*/ 4 w 113"/>
                <a:gd name="T51" fmla="*/ 64 h 112"/>
                <a:gd name="T52" fmla="*/ 16 w 113"/>
                <a:gd name="T53" fmla="*/ 65 h 112"/>
                <a:gd name="T54" fmla="*/ 22 w 113"/>
                <a:gd name="T55" fmla="*/ 79 h 112"/>
                <a:gd name="T56" fmla="*/ 14 w 113"/>
                <a:gd name="T57" fmla="*/ 88 h 112"/>
                <a:gd name="T58" fmla="*/ 14 w 113"/>
                <a:gd name="T59" fmla="*/ 93 h 112"/>
                <a:gd name="T60" fmla="*/ 19 w 113"/>
                <a:gd name="T61" fmla="*/ 98 h 112"/>
                <a:gd name="T62" fmla="*/ 25 w 113"/>
                <a:gd name="T63" fmla="*/ 98 h 112"/>
                <a:gd name="T64" fmla="*/ 34 w 113"/>
                <a:gd name="T65" fmla="*/ 91 h 112"/>
                <a:gd name="T66" fmla="*/ 48 w 113"/>
                <a:gd name="T67" fmla="*/ 97 h 112"/>
                <a:gd name="T68" fmla="*/ 49 w 113"/>
                <a:gd name="T69" fmla="*/ 108 h 112"/>
                <a:gd name="T70" fmla="*/ 53 w 113"/>
                <a:gd name="T71" fmla="*/ 112 h 112"/>
                <a:gd name="T72" fmla="*/ 60 w 113"/>
                <a:gd name="T73" fmla="*/ 112 h 112"/>
                <a:gd name="T74" fmla="*/ 64 w 113"/>
                <a:gd name="T75" fmla="*/ 108 h 112"/>
                <a:gd name="T76" fmla="*/ 65 w 113"/>
                <a:gd name="T77" fmla="*/ 97 h 112"/>
                <a:gd name="T78" fmla="*/ 79 w 113"/>
                <a:gd name="T79" fmla="*/ 91 h 112"/>
                <a:gd name="T80" fmla="*/ 88 w 113"/>
                <a:gd name="T81" fmla="*/ 98 h 112"/>
                <a:gd name="T82" fmla="*/ 94 w 113"/>
                <a:gd name="T83" fmla="*/ 98 h 112"/>
                <a:gd name="T84" fmla="*/ 99 w 113"/>
                <a:gd name="T85" fmla="*/ 93 h 112"/>
                <a:gd name="T86" fmla="*/ 99 w 113"/>
                <a:gd name="T87" fmla="*/ 88 h 112"/>
                <a:gd name="T88" fmla="*/ 91 w 113"/>
                <a:gd name="T89" fmla="*/ 79 h 112"/>
                <a:gd name="T90" fmla="*/ 97 w 113"/>
                <a:gd name="T91" fmla="*/ 65 h 112"/>
                <a:gd name="T92" fmla="*/ 109 w 113"/>
                <a:gd name="T93" fmla="*/ 64 h 112"/>
                <a:gd name="T94" fmla="*/ 113 w 113"/>
                <a:gd name="T95" fmla="*/ 60 h 112"/>
                <a:gd name="T96" fmla="*/ 113 w 113"/>
                <a:gd name="T97" fmla="*/ 53 h 112"/>
                <a:gd name="T98" fmla="*/ 56 w 113"/>
                <a:gd name="T99" fmla="*/ 79 h 112"/>
                <a:gd name="T100" fmla="*/ 34 w 113"/>
                <a:gd name="T101" fmla="*/ 56 h 112"/>
                <a:gd name="T102" fmla="*/ 56 w 113"/>
                <a:gd name="T103" fmla="*/ 34 h 112"/>
                <a:gd name="T104" fmla="*/ 79 w 113"/>
                <a:gd name="T105" fmla="*/ 56 h 112"/>
                <a:gd name="T106" fmla="*/ 56 w 113"/>
                <a:gd name="T107" fmla="*/ 7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 h="112">
                  <a:moveTo>
                    <a:pt x="113" y="53"/>
                  </a:moveTo>
                  <a:cubicBezTo>
                    <a:pt x="113" y="51"/>
                    <a:pt x="111" y="49"/>
                    <a:pt x="109" y="49"/>
                  </a:cubicBezTo>
                  <a:cubicBezTo>
                    <a:pt x="97" y="48"/>
                    <a:pt x="97" y="48"/>
                    <a:pt x="97" y="48"/>
                  </a:cubicBezTo>
                  <a:cubicBezTo>
                    <a:pt x="96" y="43"/>
                    <a:pt x="94" y="38"/>
                    <a:pt x="91" y="34"/>
                  </a:cubicBezTo>
                  <a:cubicBezTo>
                    <a:pt x="99" y="25"/>
                    <a:pt x="99" y="25"/>
                    <a:pt x="99" y="25"/>
                  </a:cubicBezTo>
                  <a:cubicBezTo>
                    <a:pt x="100" y="23"/>
                    <a:pt x="100" y="20"/>
                    <a:pt x="99" y="19"/>
                  </a:cubicBezTo>
                  <a:cubicBezTo>
                    <a:pt x="97" y="18"/>
                    <a:pt x="95" y="15"/>
                    <a:pt x="94" y="14"/>
                  </a:cubicBezTo>
                  <a:cubicBezTo>
                    <a:pt x="92" y="13"/>
                    <a:pt x="90" y="13"/>
                    <a:pt x="88" y="14"/>
                  </a:cubicBezTo>
                  <a:cubicBezTo>
                    <a:pt x="79" y="22"/>
                    <a:pt x="79" y="22"/>
                    <a:pt x="79" y="22"/>
                  </a:cubicBezTo>
                  <a:cubicBezTo>
                    <a:pt x="75" y="19"/>
                    <a:pt x="70" y="17"/>
                    <a:pt x="65" y="16"/>
                  </a:cubicBezTo>
                  <a:cubicBezTo>
                    <a:pt x="64" y="4"/>
                    <a:pt x="64" y="4"/>
                    <a:pt x="64" y="4"/>
                  </a:cubicBezTo>
                  <a:cubicBezTo>
                    <a:pt x="64" y="2"/>
                    <a:pt x="62" y="0"/>
                    <a:pt x="60" y="0"/>
                  </a:cubicBezTo>
                  <a:cubicBezTo>
                    <a:pt x="58" y="0"/>
                    <a:pt x="55" y="0"/>
                    <a:pt x="53" y="0"/>
                  </a:cubicBezTo>
                  <a:cubicBezTo>
                    <a:pt x="51" y="0"/>
                    <a:pt x="49" y="2"/>
                    <a:pt x="49" y="4"/>
                  </a:cubicBezTo>
                  <a:cubicBezTo>
                    <a:pt x="48" y="16"/>
                    <a:pt x="48" y="16"/>
                    <a:pt x="48" y="16"/>
                  </a:cubicBezTo>
                  <a:cubicBezTo>
                    <a:pt x="43" y="17"/>
                    <a:pt x="38" y="19"/>
                    <a:pt x="34" y="22"/>
                  </a:cubicBezTo>
                  <a:cubicBezTo>
                    <a:pt x="25" y="14"/>
                    <a:pt x="25" y="14"/>
                    <a:pt x="25" y="14"/>
                  </a:cubicBezTo>
                  <a:cubicBezTo>
                    <a:pt x="23" y="13"/>
                    <a:pt x="21" y="13"/>
                    <a:pt x="19" y="14"/>
                  </a:cubicBezTo>
                  <a:cubicBezTo>
                    <a:pt x="18" y="15"/>
                    <a:pt x="16" y="18"/>
                    <a:pt x="14" y="19"/>
                  </a:cubicBezTo>
                  <a:cubicBezTo>
                    <a:pt x="13" y="20"/>
                    <a:pt x="13" y="23"/>
                    <a:pt x="14" y="25"/>
                  </a:cubicBezTo>
                  <a:cubicBezTo>
                    <a:pt x="22" y="34"/>
                    <a:pt x="22" y="34"/>
                    <a:pt x="22" y="34"/>
                  </a:cubicBezTo>
                  <a:cubicBezTo>
                    <a:pt x="19" y="38"/>
                    <a:pt x="17" y="43"/>
                    <a:pt x="16" y="48"/>
                  </a:cubicBezTo>
                  <a:cubicBezTo>
                    <a:pt x="4" y="49"/>
                    <a:pt x="4" y="49"/>
                    <a:pt x="4" y="49"/>
                  </a:cubicBezTo>
                  <a:cubicBezTo>
                    <a:pt x="2" y="49"/>
                    <a:pt x="0" y="51"/>
                    <a:pt x="0" y="53"/>
                  </a:cubicBezTo>
                  <a:cubicBezTo>
                    <a:pt x="0" y="55"/>
                    <a:pt x="0" y="58"/>
                    <a:pt x="0" y="60"/>
                  </a:cubicBezTo>
                  <a:cubicBezTo>
                    <a:pt x="0" y="62"/>
                    <a:pt x="2" y="64"/>
                    <a:pt x="4" y="64"/>
                  </a:cubicBezTo>
                  <a:cubicBezTo>
                    <a:pt x="16" y="65"/>
                    <a:pt x="16" y="65"/>
                    <a:pt x="16" y="65"/>
                  </a:cubicBezTo>
                  <a:cubicBezTo>
                    <a:pt x="17" y="70"/>
                    <a:pt x="19" y="75"/>
                    <a:pt x="22" y="79"/>
                  </a:cubicBezTo>
                  <a:cubicBezTo>
                    <a:pt x="14" y="88"/>
                    <a:pt x="14" y="88"/>
                    <a:pt x="14" y="88"/>
                  </a:cubicBezTo>
                  <a:cubicBezTo>
                    <a:pt x="13" y="90"/>
                    <a:pt x="13" y="92"/>
                    <a:pt x="14" y="93"/>
                  </a:cubicBezTo>
                  <a:cubicBezTo>
                    <a:pt x="16" y="95"/>
                    <a:pt x="18" y="97"/>
                    <a:pt x="19" y="98"/>
                  </a:cubicBezTo>
                  <a:cubicBezTo>
                    <a:pt x="21" y="100"/>
                    <a:pt x="23" y="100"/>
                    <a:pt x="25" y="98"/>
                  </a:cubicBezTo>
                  <a:cubicBezTo>
                    <a:pt x="34" y="91"/>
                    <a:pt x="34" y="91"/>
                    <a:pt x="34" y="91"/>
                  </a:cubicBezTo>
                  <a:cubicBezTo>
                    <a:pt x="38" y="94"/>
                    <a:pt x="43" y="96"/>
                    <a:pt x="48" y="97"/>
                  </a:cubicBezTo>
                  <a:cubicBezTo>
                    <a:pt x="49" y="108"/>
                    <a:pt x="49" y="108"/>
                    <a:pt x="49" y="108"/>
                  </a:cubicBezTo>
                  <a:cubicBezTo>
                    <a:pt x="49" y="111"/>
                    <a:pt x="51" y="112"/>
                    <a:pt x="53" y="112"/>
                  </a:cubicBezTo>
                  <a:cubicBezTo>
                    <a:pt x="55" y="112"/>
                    <a:pt x="58" y="112"/>
                    <a:pt x="60" y="112"/>
                  </a:cubicBezTo>
                  <a:cubicBezTo>
                    <a:pt x="62" y="112"/>
                    <a:pt x="64" y="111"/>
                    <a:pt x="64" y="108"/>
                  </a:cubicBezTo>
                  <a:cubicBezTo>
                    <a:pt x="65" y="97"/>
                    <a:pt x="65" y="97"/>
                    <a:pt x="65" y="97"/>
                  </a:cubicBezTo>
                  <a:cubicBezTo>
                    <a:pt x="70" y="96"/>
                    <a:pt x="75" y="94"/>
                    <a:pt x="79" y="91"/>
                  </a:cubicBezTo>
                  <a:cubicBezTo>
                    <a:pt x="88" y="98"/>
                    <a:pt x="88" y="98"/>
                    <a:pt x="88" y="98"/>
                  </a:cubicBezTo>
                  <a:cubicBezTo>
                    <a:pt x="90" y="100"/>
                    <a:pt x="92" y="100"/>
                    <a:pt x="94" y="98"/>
                  </a:cubicBezTo>
                  <a:cubicBezTo>
                    <a:pt x="95" y="97"/>
                    <a:pt x="97" y="95"/>
                    <a:pt x="99" y="93"/>
                  </a:cubicBezTo>
                  <a:cubicBezTo>
                    <a:pt x="100" y="92"/>
                    <a:pt x="100" y="90"/>
                    <a:pt x="99" y="88"/>
                  </a:cubicBezTo>
                  <a:cubicBezTo>
                    <a:pt x="91" y="79"/>
                    <a:pt x="91" y="79"/>
                    <a:pt x="91" y="79"/>
                  </a:cubicBezTo>
                  <a:cubicBezTo>
                    <a:pt x="94" y="75"/>
                    <a:pt x="96" y="70"/>
                    <a:pt x="97" y="65"/>
                  </a:cubicBezTo>
                  <a:cubicBezTo>
                    <a:pt x="109" y="64"/>
                    <a:pt x="109" y="64"/>
                    <a:pt x="109" y="64"/>
                  </a:cubicBezTo>
                  <a:cubicBezTo>
                    <a:pt x="111" y="64"/>
                    <a:pt x="113" y="62"/>
                    <a:pt x="113" y="60"/>
                  </a:cubicBezTo>
                  <a:cubicBezTo>
                    <a:pt x="113" y="58"/>
                    <a:pt x="113" y="55"/>
                    <a:pt x="113" y="53"/>
                  </a:cubicBezTo>
                  <a:close/>
                  <a:moveTo>
                    <a:pt x="56" y="79"/>
                  </a:moveTo>
                  <a:cubicBezTo>
                    <a:pt x="44" y="79"/>
                    <a:pt x="34" y="69"/>
                    <a:pt x="34" y="56"/>
                  </a:cubicBezTo>
                  <a:cubicBezTo>
                    <a:pt x="34" y="44"/>
                    <a:pt x="44" y="34"/>
                    <a:pt x="56" y="34"/>
                  </a:cubicBezTo>
                  <a:cubicBezTo>
                    <a:pt x="69" y="34"/>
                    <a:pt x="79" y="44"/>
                    <a:pt x="79" y="56"/>
                  </a:cubicBezTo>
                  <a:cubicBezTo>
                    <a:pt x="79" y="69"/>
                    <a:pt x="69" y="79"/>
                    <a:pt x="56"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73">
              <a:extLst>
                <a:ext uri="{FF2B5EF4-FFF2-40B4-BE49-F238E27FC236}">
                  <a16:creationId xmlns:a16="http://schemas.microsoft.com/office/drawing/2014/main" id="{C536DF8A-41A8-4ED9-945F-4DAB35F32095}"/>
                </a:ext>
              </a:extLst>
            </p:cNvPr>
            <p:cNvSpPr>
              <a:spLocks noEditPoints="1"/>
            </p:cNvSpPr>
            <p:nvPr/>
          </p:nvSpPr>
          <p:spPr bwMode="auto">
            <a:xfrm>
              <a:off x="4324470" y="1678469"/>
              <a:ext cx="505994" cy="506342"/>
            </a:xfrm>
            <a:custGeom>
              <a:avLst/>
              <a:gdLst>
                <a:gd name="T0" fmla="*/ 74 w 76"/>
                <a:gd name="T1" fmla="*/ 47 h 76"/>
                <a:gd name="T2" fmla="*/ 67 w 76"/>
                <a:gd name="T3" fmla="*/ 43 h 76"/>
                <a:gd name="T4" fmla="*/ 67 w 76"/>
                <a:gd name="T5" fmla="*/ 33 h 76"/>
                <a:gd name="T6" fmla="*/ 74 w 76"/>
                <a:gd name="T7" fmla="*/ 29 h 76"/>
                <a:gd name="T8" fmla="*/ 76 w 76"/>
                <a:gd name="T9" fmla="*/ 25 h 76"/>
                <a:gd name="T10" fmla="*/ 74 w 76"/>
                <a:gd name="T11" fmla="*/ 21 h 76"/>
                <a:gd name="T12" fmla="*/ 70 w 76"/>
                <a:gd name="T13" fmla="*/ 19 h 76"/>
                <a:gd name="T14" fmla="*/ 62 w 76"/>
                <a:gd name="T15" fmla="*/ 22 h 76"/>
                <a:gd name="T16" fmla="*/ 55 w 76"/>
                <a:gd name="T17" fmla="*/ 14 h 76"/>
                <a:gd name="T18" fmla="*/ 57 w 76"/>
                <a:gd name="T19" fmla="*/ 6 h 76"/>
                <a:gd name="T20" fmla="*/ 56 w 76"/>
                <a:gd name="T21" fmla="*/ 3 h 76"/>
                <a:gd name="T22" fmla="*/ 51 w 76"/>
                <a:gd name="T23" fmla="*/ 1 h 76"/>
                <a:gd name="T24" fmla="*/ 48 w 76"/>
                <a:gd name="T25" fmla="*/ 2 h 76"/>
                <a:gd name="T26" fmla="*/ 44 w 76"/>
                <a:gd name="T27" fmla="*/ 10 h 76"/>
                <a:gd name="T28" fmla="*/ 33 w 76"/>
                <a:gd name="T29" fmla="*/ 10 h 76"/>
                <a:gd name="T30" fmla="*/ 29 w 76"/>
                <a:gd name="T31" fmla="*/ 2 h 76"/>
                <a:gd name="T32" fmla="*/ 26 w 76"/>
                <a:gd name="T33" fmla="*/ 1 h 76"/>
                <a:gd name="T34" fmla="*/ 21 w 76"/>
                <a:gd name="T35" fmla="*/ 3 h 76"/>
                <a:gd name="T36" fmla="*/ 19 w 76"/>
                <a:gd name="T37" fmla="*/ 6 h 76"/>
                <a:gd name="T38" fmla="*/ 22 w 76"/>
                <a:gd name="T39" fmla="*/ 14 h 76"/>
                <a:gd name="T40" fmla="*/ 14 w 76"/>
                <a:gd name="T41" fmla="*/ 22 h 76"/>
                <a:gd name="T42" fmla="*/ 6 w 76"/>
                <a:gd name="T43" fmla="*/ 19 h 76"/>
                <a:gd name="T44" fmla="*/ 3 w 76"/>
                <a:gd name="T45" fmla="*/ 21 h 76"/>
                <a:gd name="T46" fmla="*/ 1 w 76"/>
                <a:gd name="T47" fmla="*/ 25 h 76"/>
                <a:gd name="T48" fmla="*/ 3 w 76"/>
                <a:gd name="T49" fmla="*/ 29 h 76"/>
                <a:gd name="T50" fmla="*/ 10 w 76"/>
                <a:gd name="T51" fmla="*/ 33 h 76"/>
                <a:gd name="T52" fmla="*/ 10 w 76"/>
                <a:gd name="T53" fmla="*/ 44 h 76"/>
                <a:gd name="T54" fmla="*/ 3 w 76"/>
                <a:gd name="T55" fmla="*/ 47 h 76"/>
                <a:gd name="T56" fmla="*/ 1 w 76"/>
                <a:gd name="T57" fmla="*/ 51 h 76"/>
                <a:gd name="T58" fmla="*/ 3 w 76"/>
                <a:gd name="T59" fmla="*/ 55 h 76"/>
                <a:gd name="T60" fmla="*/ 6 w 76"/>
                <a:gd name="T61" fmla="*/ 57 h 76"/>
                <a:gd name="T62" fmla="*/ 14 w 76"/>
                <a:gd name="T63" fmla="*/ 54 h 76"/>
                <a:gd name="T64" fmla="*/ 22 w 76"/>
                <a:gd name="T65" fmla="*/ 62 h 76"/>
                <a:gd name="T66" fmla="*/ 19 w 76"/>
                <a:gd name="T67" fmla="*/ 70 h 76"/>
                <a:gd name="T68" fmla="*/ 21 w 76"/>
                <a:gd name="T69" fmla="*/ 73 h 76"/>
                <a:gd name="T70" fmla="*/ 26 w 76"/>
                <a:gd name="T71" fmla="*/ 75 h 76"/>
                <a:gd name="T72" fmla="*/ 29 w 76"/>
                <a:gd name="T73" fmla="*/ 74 h 76"/>
                <a:gd name="T74" fmla="*/ 33 w 76"/>
                <a:gd name="T75" fmla="*/ 66 h 76"/>
                <a:gd name="T76" fmla="*/ 44 w 76"/>
                <a:gd name="T77" fmla="*/ 66 h 76"/>
                <a:gd name="T78" fmla="*/ 48 w 76"/>
                <a:gd name="T79" fmla="*/ 74 h 76"/>
                <a:gd name="T80" fmla="*/ 51 w 76"/>
                <a:gd name="T81" fmla="*/ 75 h 76"/>
                <a:gd name="T82" fmla="*/ 56 w 76"/>
                <a:gd name="T83" fmla="*/ 73 h 76"/>
                <a:gd name="T84" fmla="*/ 57 w 76"/>
                <a:gd name="T85" fmla="*/ 70 h 76"/>
                <a:gd name="T86" fmla="*/ 55 w 76"/>
                <a:gd name="T87" fmla="*/ 62 h 76"/>
                <a:gd name="T88" fmla="*/ 62 w 76"/>
                <a:gd name="T89" fmla="*/ 54 h 76"/>
                <a:gd name="T90" fmla="*/ 70 w 76"/>
                <a:gd name="T91" fmla="*/ 57 h 76"/>
                <a:gd name="T92" fmla="*/ 74 w 76"/>
                <a:gd name="T93" fmla="*/ 55 h 76"/>
                <a:gd name="T94" fmla="*/ 76 w 76"/>
                <a:gd name="T95" fmla="*/ 51 h 76"/>
                <a:gd name="T96" fmla="*/ 74 w 76"/>
                <a:gd name="T97" fmla="*/ 47 h 76"/>
                <a:gd name="T98" fmla="*/ 43 w 76"/>
                <a:gd name="T99" fmla="*/ 49 h 76"/>
                <a:gd name="T100" fmla="*/ 28 w 76"/>
                <a:gd name="T101" fmla="*/ 42 h 76"/>
                <a:gd name="T102" fmla="*/ 34 w 76"/>
                <a:gd name="T103" fmla="*/ 27 h 76"/>
                <a:gd name="T104" fmla="*/ 49 w 76"/>
                <a:gd name="T105" fmla="*/ 34 h 76"/>
                <a:gd name="T106" fmla="*/ 43 w 76"/>
                <a:gd name="T107"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6">
                  <a:moveTo>
                    <a:pt x="74" y="47"/>
                  </a:moveTo>
                  <a:cubicBezTo>
                    <a:pt x="67" y="43"/>
                    <a:pt x="67" y="43"/>
                    <a:pt x="67" y="43"/>
                  </a:cubicBezTo>
                  <a:cubicBezTo>
                    <a:pt x="67" y="40"/>
                    <a:pt x="67" y="36"/>
                    <a:pt x="67" y="33"/>
                  </a:cubicBezTo>
                  <a:cubicBezTo>
                    <a:pt x="74" y="29"/>
                    <a:pt x="74" y="29"/>
                    <a:pt x="74" y="29"/>
                  </a:cubicBezTo>
                  <a:cubicBezTo>
                    <a:pt x="75" y="28"/>
                    <a:pt x="76" y="27"/>
                    <a:pt x="76" y="25"/>
                  </a:cubicBezTo>
                  <a:cubicBezTo>
                    <a:pt x="75" y="24"/>
                    <a:pt x="74" y="22"/>
                    <a:pt x="74" y="21"/>
                  </a:cubicBezTo>
                  <a:cubicBezTo>
                    <a:pt x="73" y="19"/>
                    <a:pt x="72" y="19"/>
                    <a:pt x="70" y="19"/>
                  </a:cubicBezTo>
                  <a:cubicBezTo>
                    <a:pt x="62" y="22"/>
                    <a:pt x="62" y="22"/>
                    <a:pt x="62" y="22"/>
                  </a:cubicBezTo>
                  <a:cubicBezTo>
                    <a:pt x="60" y="19"/>
                    <a:pt x="58" y="16"/>
                    <a:pt x="55" y="14"/>
                  </a:cubicBezTo>
                  <a:cubicBezTo>
                    <a:pt x="57" y="6"/>
                    <a:pt x="57" y="6"/>
                    <a:pt x="57" y="6"/>
                  </a:cubicBezTo>
                  <a:cubicBezTo>
                    <a:pt x="58" y="5"/>
                    <a:pt x="57" y="3"/>
                    <a:pt x="56" y="3"/>
                  </a:cubicBezTo>
                  <a:cubicBezTo>
                    <a:pt x="54" y="2"/>
                    <a:pt x="52" y="1"/>
                    <a:pt x="51" y="1"/>
                  </a:cubicBezTo>
                  <a:cubicBezTo>
                    <a:pt x="50" y="0"/>
                    <a:pt x="48" y="1"/>
                    <a:pt x="48" y="2"/>
                  </a:cubicBezTo>
                  <a:cubicBezTo>
                    <a:pt x="44" y="10"/>
                    <a:pt x="44" y="10"/>
                    <a:pt x="44" y="10"/>
                  </a:cubicBezTo>
                  <a:cubicBezTo>
                    <a:pt x="40" y="9"/>
                    <a:pt x="37" y="9"/>
                    <a:pt x="33" y="10"/>
                  </a:cubicBezTo>
                  <a:cubicBezTo>
                    <a:pt x="29" y="2"/>
                    <a:pt x="29" y="2"/>
                    <a:pt x="29" y="2"/>
                  </a:cubicBezTo>
                  <a:cubicBezTo>
                    <a:pt x="28" y="1"/>
                    <a:pt x="27" y="0"/>
                    <a:pt x="26" y="1"/>
                  </a:cubicBezTo>
                  <a:cubicBezTo>
                    <a:pt x="24" y="1"/>
                    <a:pt x="22" y="2"/>
                    <a:pt x="21" y="3"/>
                  </a:cubicBezTo>
                  <a:cubicBezTo>
                    <a:pt x="20" y="3"/>
                    <a:pt x="19" y="5"/>
                    <a:pt x="19" y="6"/>
                  </a:cubicBezTo>
                  <a:cubicBezTo>
                    <a:pt x="22" y="14"/>
                    <a:pt x="22" y="14"/>
                    <a:pt x="22" y="14"/>
                  </a:cubicBezTo>
                  <a:cubicBezTo>
                    <a:pt x="19" y="16"/>
                    <a:pt x="16" y="19"/>
                    <a:pt x="14" y="22"/>
                  </a:cubicBezTo>
                  <a:cubicBezTo>
                    <a:pt x="6" y="19"/>
                    <a:pt x="6" y="19"/>
                    <a:pt x="6" y="19"/>
                  </a:cubicBezTo>
                  <a:cubicBezTo>
                    <a:pt x="5" y="19"/>
                    <a:pt x="3" y="19"/>
                    <a:pt x="3" y="21"/>
                  </a:cubicBezTo>
                  <a:cubicBezTo>
                    <a:pt x="2" y="22"/>
                    <a:pt x="2" y="24"/>
                    <a:pt x="1" y="25"/>
                  </a:cubicBezTo>
                  <a:cubicBezTo>
                    <a:pt x="0" y="27"/>
                    <a:pt x="1" y="28"/>
                    <a:pt x="3" y="29"/>
                  </a:cubicBezTo>
                  <a:cubicBezTo>
                    <a:pt x="10" y="33"/>
                    <a:pt x="10" y="33"/>
                    <a:pt x="10" y="33"/>
                  </a:cubicBezTo>
                  <a:cubicBezTo>
                    <a:pt x="9" y="36"/>
                    <a:pt x="9" y="40"/>
                    <a:pt x="10" y="44"/>
                  </a:cubicBezTo>
                  <a:cubicBezTo>
                    <a:pt x="3" y="47"/>
                    <a:pt x="3" y="47"/>
                    <a:pt x="3" y="47"/>
                  </a:cubicBezTo>
                  <a:cubicBezTo>
                    <a:pt x="1" y="48"/>
                    <a:pt x="0" y="50"/>
                    <a:pt x="1" y="51"/>
                  </a:cubicBezTo>
                  <a:cubicBezTo>
                    <a:pt x="2" y="52"/>
                    <a:pt x="2" y="54"/>
                    <a:pt x="3" y="55"/>
                  </a:cubicBezTo>
                  <a:cubicBezTo>
                    <a:pt x="3" y="57"/>
                    <a:pt x="5" y="57"/>
                    <a:pt x="6" y="57"/>
                  </a:cubicBezTo>
                  <a:cubicBezTo>
                    <a:pt x="14" y="54"/>
                    <a:pt x="14" y="54"/>
                    <a:pt x="14" y="54"/>
                  </a:cubicBezTo>
                  <a:cubicBezTo>
                    <a:pt x="16" y="57"/>
                    <a:pt x="19" y="60"/>
                    <a:pt x="22" y="62"/>
                  </a:cubicBezTo>
                  <a:cubicBezTo>
                    <a:pt x="19" y="70"/>
                    <a:pt x="19" y="70"/>
                    <a:pt x="19" y="70"/>
                  </a:cubicBezTo>
                  <a:cubicBezTo>
                    <a:pt x="19" y="71"/>
                    <a:pt x="20" y="73"/>
                    <a:pt x="21" y="73"/>
                  </a:cubicBezTo>
                  <a:cubicBezTo>
                    <a:pt x="22" y="74"/>
                    <a:pt x="24" y="75"/>
                    <a:pt x="26" y="75"/>
                  </a:cubicBezTo>
                  <a:cubicBezTo>
                    <a:pt x="27" y="76"/>
                    <a:pt x="28" y="75"/>
                    <a:pt x="29" y="74"/>
                  </a:cubicBezTo>
                  <a:cubicBezTo>
                    <a:pt x="33" y="66"/>
                    <a:pt x="33" y="66"/>
                    <a:pt x="33" y="66"/>
                  </a:cubicBezTo>
                  <a:cubicBezTo>
                    <a:pt x="36" y="67"/>
                    <a:pt x="40" y="67"/>
                    <a:pt x="44" y="66"/>
                  </a:cubicBezTo>
                  <a:cubicBezTo>
                    <a:pt x="48" y="74"/>
                    <a:pt x="48" y="74"/>
                    <a:pt x="48" y="74"/>
                  </a:cubicBezTo>
                  <a:cubicBezTo>
                    <a:pt x="48" y="75"/>
                    <a:pt x="50" y="76"/>
                    <a:pt x="51" y="75"/>
                  </a:cubicBezTo>
                  <a:cubicBezTo>
                    <a:pt x="52" y="75"/>
                    <a:pt x="54" y="74"/>
                    <a:pt x="56" y="73"/>
                  </a:cubicBezTo>
                  <a:cubicBezTo>
                    <a:pt x="57" y="73"/>
                    <a:pt x="58" y="71"/>
                    <a:pt x="57" y="70"/>
                  </a:cubicBezTo>
                  <a:cubicBezTo>
                    <a:pt x="55" y="62"/>
                    <a:pt x="55" y="62"/>
                    <a:pt x="55" y="62"/>
                  </a:cubicBezTo>
                  <a:cubicBezTo>
                    <a:pt x="58" y="60"/>
                    <a:pt x="60" y="57"/>
                    <a:pt x="62" y="54"/>
                  </a:cubicBezTo>
                  <a:cubicBezTo>
                    <a:pt x="70" y="57"/>
                    <a:pt x="70" y="57"/>
                    <a:pt x="70" y="57"/>
                  </a:cubicBezTo>
                  <a:cubicBezTo>
                    <a:pt x="72" y="57"/>
                    <a:pt x="73" y="57"/>
                    <a:pt x="74" y="55"/>
                  </a:cubicBezTo>
                  <a:cubicBezTo>
                    <a:pt x="74" y="54"/>
                    <a:pt x="75" y="52"/>
                    <a:pt x="76" y="51"/>
                  </a:cubicBezTo>
                  <a:cubicBezTo>
                    <a:pt x="76" y="50"/>
                    <a:pt x="75" y="48"/>
                    <a:pt x="74" y="47"/>
                  </a:cubicBezTo>
                  <a:close/>
                  <a:moveTo>
                    <a:pt x="43" y="49"/>
                  </a:moveTo>
                  <a:cubicBezTo>
                    <a:pt x="37" y="51"/>
                    <a:pt x="30" y="48"/>
                    <a:pt x="28" y="42"/>
                  </a:cubicBezTo>
                  <a:cubicBezTo>
                    <a:pt x="25" y="37"/>
                    <a:pt x="28" y="30"/>
                    <a:pt x="34" y="27"/>
                  </a:cubicBezTo>
                  <a:cubicBezTo>
                    <a:pt x="40" y="25"/>
                    <a:pt x="47" y="28"/>
                    <a:pt x="49" y="34"/>
                  </a:cubicBezTo>
                  <a:cubicBezTo>
                    <a:pt x="51" y="40"/>
                    <a:pt x="49" y="46"/>
                    <a:pt x="4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2">
              <a:extLst>
                <a:ext uri="{FF2B5EF4-FFF2-40B4-BE49-F238E27FC236}">
                  <a16:creationId xmlns:a16="http://schemas.microsoft.com/office/drawing/2014/main" id="{EE4D8446-B506-430E-9B42-8457019A5CCA}"/>
                </a:ext>
              </a:extLst>
            </p:cNvPr>
            <p:cNvSpPr>
              <a:spLocks noEditPoints="1"/>
            </p:cNvSpPr>
            <p:nvPr/>
          </p:nvSpPr>
          <p:spPr bwMode="auto">
            <a:xfrm>
              <a:off x="4201513" y="2151707"/>
              <a:ext cx="752920" cy="745334"/>
            </a:xfrm>
            <a:custGeom>
              <a:avLst/>
              <a:gdLst>
                <a:gd name="T0" fmla="*/ 113 w 113"/>
                <a:gd name="T1" fmla="*/ 53 h 112"/>
                <a:gd name="T2" fmla="*/ 109 w 113"/>
                <a:gd name="T3" fmla="*/ 49 h 112"/>
                <a:gd name="T4" fmla="*/ 97 w 113"/>
                <a:gd name="T5" fmla="*/ 48 h 112"/>
                <a:gd name="T6" fmla="*/ 91 w 113"/>
                <a:gd name="T7" fmla="*/ 34 h 112"/>
                <a:gd name="T8" fmla="*/ 99 w 113"/>
                <a:gd name="T9" fmla="*/ 25 h 112"/>
                <a:gd name="T10" fmla="*/ 99 w 113"/>
                <a:gd name="T11" fmla="*/ 19 h 112"/>
                <a:gd name="T12" fmla="*/ 94 w 113"/>
                <a:gd name="T13" fmla="*/ 14 h 112"/>
                <a:gd name="T14" fmla="*/ 88 w 113"/>
                <a:gd name="T15" fmla="*/ 14 h 112"/>
                <a:gd name="T16" fmla="*/ 79 w 113"/>
                <a:gd name="T17" fmla="*/ 22 h 112"/>
                <a:gd name="T18" fmla="*/ 65 w 113"/>
                <a:gd name="T19" fmla="*/ 16 h 112"/>
                <a:gd name="T20" fmla="*/ 64 w 113"/>
                <a:gd name="T21" fmla="*/ 4 h 112"/>
                <a:gd name="T22" fmla="*/ 60 w 113"/>
                <a:gd name="T23" fmla="*/ 0 h 112"/>
                <a:gd name="T24" fmla="*/ 53 w 113"/>
                <a:gd name="T25" fmla="*/ 0 h 112"/>
                <a:gd name="T26" fmla="*/ 49 w 113"/>
                <a:gd name="T27" fmla="*/ 4 h 112"/>
                <a:gd name="T28" fmla="*/ 48 w 113"/>
                <a:gd name="T29" fmla="*/ 16 h 112"/>
                <a:gd name="T30" fmla="*/ 34 w 113"/>
                <a:gd name="T31" fmla="*/ 22 h 112"/>
                <a:gd name="T32" fmla="*/ 25 w 113"/>
                <a:gd name="T33" fmla="*/ 14 h 112"/>
                <a:gd name="T34" fmla="*/ 19 w 113"/>
                <a:gd name="T35" fmla="*/ 14 h 112"/>
                <a:gd name="T36" fmla="*/ 14 w 113"/>
                <a:gd name="T37" fmla="*/ 19 h 112"/>
                <a:gd name="T38" fmla="*/ 14 w 113"/>
                <a:gd name="T39" fmla="*/ 25 h 112"/>
                <a:gd name="T40" fmla="*/ 22 w 113"/>
                <a:gd name="T41" fmla="*/ 34 h 112"/>
                <a:gd name="T42" fmla="*/ 16 w 113"/>
                <a:gd name="T43" fmla="*/ 48 h 112"/>
                <a:gd name="T44" fmla="*/ 4 w 113"/>
                <a:gd name="T45" fmla="*/ 49 h 112"/>
                <a:gd name="T46" fmla="*/ 0 w 113"/>
                <a:gd name="T47" fmla="*/ 53 h 112"/>
                <a:gd name="T48" fmla="*/ 0 w 113"/>
                <a:gd name="T49" fmla="*/ 60 h 112"/>
                <a:gd name="T50" fmla="*/ 4 w 113"/>
                <a:gd name="T51" fmla="*/ 64 h 112"/>
                <a:gd name="T52" fmla="*/ 16 w 113"/>
                <a:gd name="T53" fmla="*/ 65 h 112"/>
                <a:gd name="T54" fmla="*/ 22 w 113"/>
                <a:gd name="T55" fmla="*/ 79 h 112"/>
                <a:gd name="T56" fmla="*/ 14 w 113"/>
                <a:gd name="T57" fmla="*/ 88 h 112"/>
                <a:gd name="T58" fmla="*/ 14 w 113"/>
                <a:gd name="T59" fmla="*/ 93 h 112"/>
                <a:gd name="T60" fmla="*/ 19 w 113"/>
                <a:gd name="T61" fmla="*/ 98 h 112"/>
                <a:gd name="T62" fmla="*/ 25 w 113"/>
                <a:gd name="T63" fmla="*/ 98 h 112"/>
                <a:gd name="T64" fmla="*/ 34 w 113"/>
                <a:gd name="T65" fmla="*/ 91 h 112"/>
                <a:gd name="T66" fmla="*/ 48 w 113"/>
                <a:gd name="T67" fmla="*/ 97 h 112"/>
                <a:gd name="T68" fmla="*/ 49 w 113"/>
                <a:gd name="T69" fmla="*/ 108 h 112"/>
                <a:gd name="T70" fmla="*/ 53 w 113"/>
                <a:gd name="T71" fmla="*/ 112 h 112"/>
                <a:gd name="T72" fmla="*/ 60 w 113"/>
                <a:gd name="T73" fmla="*/ 112 h 112"/>
                <a:gd name="T74" fmla="*/ 64 w 113"/>
                <a:gd name="T75" fmla="*/ 108 h 112"/>
                <a:gd name="T76" fmla="*/ 65 w 113"/>
                <a:gd name="T77" fmla="*/ 97 h 112"/>
                <a:gd name="T78" fmla="*/ 79 w 113"/>
                <a:gd name="T79" fmla="*/ 91 h 112"/>
                <a:gd name="T80" fmla="*/ 88 w 113"/>
                <a:gd name="T81" fmla="*/ 98 h 112"/>
                <a:gd name="T82" fmla="*/ 94 w 113"/>
                <a:gd name="T83" fmla="*/ 98 h 112"/>
                <a:gd name="T84" fmla="*/ 99 w 113"/>
                <a:gd name="T85" fmla="*/ 93 h 112"/>
                <a:gd name="T86" fmla="*/ 99 w 113"/>
                <a:gd name="T87" fmla="*/ 88 h 112"/>
                <a:gd name="T88" fmla="*/ 91 w 113"/>
                <a:gd name="T89" fmla="*/ 79 h 112"/>
                <a:gd name="T90" fmla="*/ 97 w 113"/>
                <a:gd name="T91" fmla="*/ 65 h 112"/>
                <a:gd name="T92" fmla="*/ 109 w 113"/>
                <a:gd name="T93" fmla="*/ 64 h 112"/>
                <a:gd name="T94" fmla="*/ 113 w 113"/>
                <a:gd name="T95" fmla="*/ 60 h 112"/>
                <a:gd name="T96" fmla="*/ 113 w 113"/>
                <a:gd name="T97" fmla="*/ 53 h 112"/>
                <a:gd name="T98" fmla="*/ 56 w 113"/>
                <a:gd name="T99" fmla="*/ 79 h 112"/>
                <a:gd name="T100" fmla="*/ 34 w 113"/>
                <a:gd name="T101" fmla="*/ 56 h 112"/>
                <a:gd name="T102" fmla="*/ 56 w 113"/>
                <a:gd name="T103" fmla="*/ 34 h 112"/>
                <a:gd name="T104" fmla="*/ 79 w 113"/>
                <a:gd name="T105" fmla="*/ 56 h 112"/>
                <a:gd name="T106" fmla="*/ 56 w 113"/>
                <a:gd name="T107" fmla="*/ 7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 h="112">
                  <a:moveTo>
                    <a:pt x="113" y="53"/>
                  </a:moveTo>
                  <a:cubicBezTo>
                    <a:pt x="113" y="51"/>
                    <a:pt x="111" y="49"/>
                    <a:pt x="109" y="49"/>
                  </a:cubicBezTo>
                  <a:cubicBezTo>
                    <a:pt x="97" y="48"/>
                    <a:pt x="97" y="48"/>
                    <a:pt x="97" y="48"/>
                  </a:cubicBezTo>
                  <a:cubicBezTo>
                    <a:pt x="96" y="43"/>
                    <a:pt x="94" y="38"/>
                    <a:pt x="91" y="34"/>
                  </a:cubicBezTo>
                  <a:cubicBezTo>
                    <a:pt x="99" y="25"/>
                    <a:pt x="99" y="25"/>
                    <a:pt x="99" y="25"/>
                  </a:cubicBezTo>
                  <a:cubicBezTo>
                    <a:pt x="100" y="23"/>
                    <a:pt x="100" y="20"/>
                    <a:pt x="99" y="19"/>
                  </a:cubicBezTo>
                  <a:cubicBezTo>
                    <a:pt x="97" y="18"/>
                    <a:pt x="95" y="15"/>
                    <a:pt x="94" y="14"/>
                  </a:cubicBezTo>
                  <a:cubicBezTo>
                    <a:pt x="92" y="13"/>
                    <a:pt x="90" y="13"/>
                    <a:pt x="88" y="14"/>
                  </a:cubicBezTo>
                  <a:cubicBezTo>
                    <a:pt x="79" y="22"/>
                    <a:pt x="79" y="22"/>
                    <a:pt x="79" y="22"/>
                  </a:cubicBezTo>
                  <a:cubicBezTo>
                    <a:pt x="75" y="19"/>
                    <a:pt x="70" y="17"/>
                    <a:pt x="65" y="16"/>
                  </a:cubicBezTo>
                  <a:cubicBezTo>
                    <a:pt x="64" y="4"/>
                    <a:pt x="64" y="4"/>
                    <a:pt x="64" y="4"/>
                  </a:cubicBezTo>
                  <a:cubicBezTo>
                    <a:pt x="64" y="2"/>
                    <a:pt x="62" y="0"/>
                    <a:pt x="60" y="0"/>
                  </a:cubicBezTo>
                  <a:cubicBezTo>
                    <a:pt x="58" y="0"/>
                    <a:pt x="55" y="0"/>
                    <a:pt x="53" y="0"/>
                  </a:cubicBezTo>
                  <a:cubicBezTo>
                    <a:pt x="51" y="0"/>
                    <a:pt x="49" y="2"/>
                    <a:pt x="49" y="4"/>
                  </a:cubicBezTo>
                  <a:cubicBezTo>
                    <a:pt x="48" y="16"/>
                    <a:pt x="48" y="16"/>
                    <a:pt x="48" y="16"/>
                  </a:cubicBezTo>
                  <a:cubicBezTo>
                    <a:pt x="43" y="17"/>
                    <a:pt x="38" y="19"/>
                    <a:pt x="34" y="22"/>
                  </a:cubicBezTo>
                  <a:cubicBezTo>
                    <a:pt x="25" y="14"/>
                    <a:pt x="25" y="14"/>
                    <a:pt x="25" y="14"/>
                  </a:cubicBezTo>
                  <a:cubicBezTo>
                    <a:pt x="23" y="13"/>
                    <a:pt x="21" y="13"/>
                    <a:pt x="19" y="14"/>
                  </a:cubicBezTo>
                  <a:cubicBezTo>
                    <a:pt x="18" y="15"/>
                    <a:pt x="16" y="18"/>
                    <a:pt x="14" y="19"/>
                  </a:cubicBezTo>
                  <a:cubicBezTo>
                    <a:pt x="13" y="20"/>
                    <a:pt x="13" y="23"/>
                    <a:pt x="14" y="25"/>
                  </a:cubicBezTo>
                  <a:cubicBezTo>
                    <a:pt x="22" y="34"/>
                    <a:pt x="22" y="34"/>
                    <a:pt x="22" y="34"/>
                  </a:cubicBezTo>
                  <a:cubicBezTo>
                    <a:pt x="19" y="38"/>
                    <a:pt x="17" y="43"/>
                    <a:pt x="16" y="48"/>
                  </a:cubicBezTo>
                  <a:cubicBezTo>
                    <a:pt x="4" y="49"/>
                    <a:pt x="4" y="49"/>
                    <a:pt x="4" y="49"/>
                  </a:cubicBezTo>
                  <a:cubicBezTo>
                    <a:pt x="2" y="49"/>
                    <a:pt x="0" y="51"/>
                    <a:pt x="0" y="53"/>
                  </a:cubicBezTo>
                  <a:cubicBezTo>
                    <a:pt x="0" y="55"/>
                    <a:pt x="0" y="58"/>
                    <a:pt x="0" y="60"/>
                  </a:cubicBezTo>
                  <a:cubicBezTo>
                    <a:pt x="0" y="62"/>
                    <a:pt x="2" y="64"/>
                    <a:pt x="4" y="64"/>
                  </a:cubicBezTo>
                  <a:cubicBezTo>
                    <a:pt x="16" y="65"/>
                    <a:pt x="16" y="65"/>
                    <a:pt x="16" y="65"/>
                  </a:cubicBezTo>
                  <a:cubicBezTo>
                    <a:pt x="17" y="70"/>
                    <a:pt x="19" y="75"/>
                    <a:pt x="22" y="79"/>
                  </a:cubicBezTo>
                  <a:cubicBezTo>
                    <a:pt x="14" y="88"/>
                    <a:pt x="14" y="88"/>
                    <a:pt x="14" y="88"/>
                  </a:cubicBezTo>
                  <a:cubicBezTo>
                    <a:pt x="13" y="90"/>
                    <a:pt x="13" y="92"/>
                    <a:pt x="14" y="93"/>
                  </a:cubicBezTo>
                  <a:cubicBezTo>
                    <a:pt x="16" y="95"/>
                    <a:pt x="18" y="97"/>
                    <a:pt x="19" y="98"/>
                  </a:cubicBezTo>
                  <a:cubicBezTo>
                    <a:pt x="21" y="100"/>
                    <a:pt x="23" y="100"/>
                    <a:pt x="25" y="98"/>
                  </a:cubicBezTo>
                  <a:cubicBezTo>
                    <a:pt x="34" y="91"/>
                    <a:pt x="34" y="91"/>
                    <a:pt x="34" y="91"/>
                  </a:cubicBezTo>
                  <a:cubicBezTo>
                    <a:pt x="38" y="94"/>
                    <a:pt x="43" y="96"/>
                    <a:pt x="48" y="97"/>
                  </a:cubicBezTo>
                  <a:cubicBezTo>
                    <a:pt x="49" y="108"/>
                    <a:pt x="49" y="108"/>
                    <a:pt x="49" y="108"/>
                  </a:cubicBezTo>
                  <a:cubicBezTo>
                    <a:pt x="49" y="111"/>
                    <a:pt x="51" y="112"/>
                    <a:pt x="53" y="112"/>
                  </a:cubicBezTo>
                  <a:cubicBezTo>
                    <a:pt x="55" y="112"/>
                    <a:pt x="58" y="112"/>
                    <a:pt x="60" y="112"/>
                  </a:cubicBezTo>
                  <a:cubicBezTo>
                    <a:pt x="62" y="112"/>
                    <a:pt x="64" y="111"/>
                    <a:pt x="64" y="108"/>
                  </a:cubicBezTo>
                  <a:cubicBezTo>
                    <a:pt x="65" y="97"/>
                    <a:pt x="65" y="97"/>
                    <a:pt x="65" y="97"/>
                  </a:cubicBezTo>
                  <a:cubicBezTo>
                    <a:pt x="70" y="96"/>
                    <a:pt x="75" y="94"/>
                    <a:pt x="79" y="91"/>
                  </a:cubicBezTo>
                  <a:cubicBezTo>
                    <a:pt x="88" y="98"/>
                    <a:pt x="88" y="98"/>
                    <a:pt x="88" y="98"/>
                  </a:cubicBezTo>
                  <a:cubicBezTo>
                    <a:pt x="90" y="100"/>
                    <a:pt x="92" y="100"/>
                    <a:pt x="94" y="98"/>
                  </a:cubicBezTo>
                  <a:cubicBezTo>
                    <a:pt x="95" y="97"/>
                    <a:pt x="97" y="95"/>
                    <a:pt x="99" y="93"/>
                  </a:cubicBezTo>
                  <a:cubicBezTo>
                    <a:pt x="100" y="92"/>
                    <a:pt x="100" y="90"/>
                    <a:pt x="99" y="88"/>
                  </a:cubicBezTo>
                  <a:cubicBezTo>
                    <a:pt x="91" y="79"/>
                    <a:pt x="91" y="79"/>
                    <a:pt x="91" y="79"/>
                  </a:cubicBezTo>
                  <a:cubicBezTo>
                    <a:pt x="94" y="75"/>
                    <a:pt x="96" y="70"/>
                    <a:pt x="97" y="65"/>
                  </a:cubicBezTo>
                  <a:cubicBezTo>
                    <a:pt x="109" y="64"/>
                    <a:pt x="109" y="64"/>
                    <a:pt x="109" y="64"/>
                  </a:cubicBezTo>
                  <a:cubicBezTo>
                    <a:pt x="111" y="64"/>
                    <a:pt x="113" y="62"/>
                    <a:pt x="113" y="60"/>
                  </a:cubicBezTo>
                  <a:cubicBezTo>
                    <a:pt x="113" y="58"/>
                    <a:pt x="113" y="55"/>
                    <a:pt x="113" y="53"/>
                  </a:cubicBezTo>
                  <a:close/>
                  <a:moveTo>
                    <a:pt x="56" y="79"/>
                  </a:moveTo>
                  <a:cubicBezTo>
                    <a:pt x="44" y="79"/>
                    <a:pt x="34" y="69"/>
                    <a:pt x="34" y="56"/>
                  </a:cubicBezTo>
                  <a:cubicBezTo>
                    <a:pt x="34" y="44"/>
                    <a:pt x="44" y="34"/>
                    <a:pt x="56" y="34"/>
                  </a:cubicBezTo>
                  <a:cubicBezTo>
                    <a:pt x="69" y="34"/>
                    <a:pt x="79" y="44"/>
                    <a:pt x="79" y="56"/>
                  </a:cubicBezTo>
                  <a:cubicBezTo>
                    <a:pt x="79" y="69"/>
                    <a:pt x="69" y="79"/>
                    <a:pt x="56"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5D926E2B-6802-465D-A797-91701BD42240}"/>
              </a:ext>
            </a:extLst>
          </p:cNvPr>
          <p:cNvGrpSpPr/>
          <p:nvPr/>
        </p:nvGrpSpPr>
        <p:grpSpPr>
          <a:xfrm>
            <a:off x="2134318" y="3297814"/>
            <a:ext cx="378806" cy="329114"/>
            <a:chOff x="6881019" y="3031157"/>
            <a:chExt cx="738187" cy="641350"/>
          </a:xfrm>
          <a:solidFill>
            <a:schemeClr val="bg1"/>
          </a:solidFill>
        </p:grpSpPr>
        <p:sp>
          <p:nvSpPr>
            <p:cNvPr id="42" name="Freeform 21">
              <a:extLst>
                <a:ext uri="{FF2B5EF4-FFF2-40B4-BE49-F238E27FC236}">
                  <a16:creationId xmlns:a16="http://schemas.microsoft.com/office/drawing/2014/main" id="{451F326D-874F-430D-97E0-CA05B8A081FF}"/>
                </a:ext>
              </a:extLst>
            </p:cNvPr>
            <p:cNvSpPr>
              <a:spLocks noEditPoints="1"/>
            </p:cNvSpPr>
            <p:nvPr/>
          </p:nvSpPr>
          <p:spPr bwMode="auto">
            <a:xfrm>
              <a:off x="6958806" y="3031157"/>
              <a:ext cx="641350" cy="641350"/>
            </a:xfrm>
            <a:custGeom>
              <a:avLst/>
              <a:gdLst>
                <a:gd name="T0" fmla="*/ 135 w 171"/>
                <a:gd name="T1" fmla="*/ 120 h 171"/>
                <a:gd name="T2" fmla="*/ 128 w 171"/>
                <a:gd name="T3" fmla="*/ 28 h 171"/>
                <a:gd name="T4" fmla="*/ 28 w 171"/>
                <a:gd name="T5" fmla="*/ 28 h 171"/>
                <a:gd name="T6" fmla="*/ 28 w 171"/>
                <a:gd name="T7" fmla="*/ 128 h 171"/>
                <a:gd name="T8" fmla="*/ 120 w 171"/>
                <a:gd name="T9" fmla="*/ 135 h 171"/>
                <a:gd name="T10" fmla="*/ 152 w 171"/>
                <a:gd name="T11" fmla="*/ 167 h 171"/>
                <a:gd name="T12" fmla="*/ 167 w 171"/>
                <a:gd name="T13" fmla="*/ 167 h 171"/>
                <a:gd name="T14" fmla="*/ 167 w 171"/>
                <a:gd name="T15" fmla="*/ 152 h 171"/>
                <a:gd name="T16" fmla="*/ 135 w 171"/>
                <a:gd name="T17" fmla="*/ 120 h 171"/>
                <a:gd name="T18" fmla="*/ 117 w 171"/>
                <a:gd name="T19" fmla="*/ 117 h 171"/>
                <a:gd name="T20" fmla="*/ 78 w 171"/>
                <a:gd name="T21" fmla="*/ 133 h 171"/>
                <a:gd name="T22" fmla="*/ 39 w 171"/>
                <a:gd name="T23" fmla="*/ 117 h 171"/>
                <a:gd name="T24" fmla="*/ 23 w 171"/>
                <a:gd name="T25" fmla="*/ 78 h 171"/>
                <a:gd name="T26" fmla="*/ 39 w 171"/>
                <a:gd name="T27" fmla="*/ 39 h 171"/>
                <a:gd name="T28" fmla="*/ 78 w 171"/>
                <a:gd name="T29" fmla="*/ 23 h 171"/>
                <a:gd name="T30" fmla="*/ 117 w 171"/>
                <a:gd name="T31" fmla="*/ 39 h 171"/>
                <a:gd name="T32" fmla="*/ 133 w 171"/>
                <a:gd name="T33" fmla="*/ 78 h 171"/>
                <a:gd name="T34" fmla="*/ 117 w 171"/>
                <a:gd name="T35" fmla="*/ 11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171">
                  <a:moveTo>
                    <a:pt x="135" y="120"/>
                  </a:moveTo>
                  <a:cubicBezTo>
                    <a:pt x="156" y="92"/>
                    <a:pt x="153" y="53"/>
                    <a:pt x="128" y="28"/>
                  </a:cubicBezTo>
                  <a:cubicBezTo>
                    <a:pt x="101" y="0"/>
                    <a:pt x="56" y="0"/>
                    <a:pt x="28" y="28"/>
                  </a:cubicBezTo>
                  <a:cubicBezTo>
                    <a:pt x="0" y="56"/>
                    <a:pt x="0" y="101"/>
                    <a:pt x="28" y="128"/>
                  </a:cubicBezTo>
                  <a:cubicBezTo>
                    <a:pt x="53" y="154"/>
                    <a:pt x="92" y="156"/>
                    <a:pt x="120" y="135"/>
                  </a:cubicBezTo>
                  <a:cubicBezTo>
                    <a:pt x="152" y="167"/>
                    <a:pt x="152" y="167"/>
                    <a:pt x="152" y="167"/>
                  </a:cubicBezTo>
                  <a:cubicBezTo>
                    <a:pt x="156" y="171"/>
                    <a:pt x="163" y="171"/>
                    <a:pt x="167" y="167"/>
                  </a:cubicBezTo>
                  <a:cubicBezTo>
                    <a:pt x="171" y="163"/>
                    <a:pt x="171" y="156"/>
                    <a:pt x="167" y="152"/>
                  </a:cubicBezTo>
                  <a:lnTo>
                    <a:pt x="135" y="120"/>
                  </a:lnTo>
                  <a:close/>
                  <a:moveTo>
                    <a:pt x="117" y="117"/>
                  </a:moveTo>
                  <a:cubicBezTo>
                    <a:pt x="107" y="127"/>
                    <a:pt x="93" y="133"/>
                    <a:pt x="78" y="133"/>
                  </a:cubicBezTo>
                  <a:cubicBezTo>
                    <a:pt x="63" y="133"/>
                    <a:pt x="49" y="127"/>
                    <a:pt x="39" y="117"/>
                  </a:cubicBezTo>
                  <a:cubicBezTo>
                    <a:pt x="29" y="107"/>
                    <a:pt x="23" y="93"/>
                    <a:pt x="23" y="78"/>
                  </a:cubicBezTo>
                  <a:cubicBezTo>
                    <a:pt x="23" y="63"/>
                    <a:pt x="29" y="49"/>
                    <a:pt x="39" y="39"/>
                  </a:cubicBezTo>
                  <a:cubicBezTo>
                    <a:pt x="49" y="29"/>
                    <a:pt x="63" y="23"/>
                    <a:pt x="78" y="23"/>
                  </a:cubicBezTo>
                  <a:cubicBezTo>
                    <a:pt x="93" y="23"/>
                    <a:pt x="107" y="29"/>
                    <a:pt x="117" y="39"/>
                  </a:cubicBezTo>
                  <a:cubicBezTo>
                    <a:pt x="127" y="49"/>
                    <a:pt x="133" y="63"/>
                    <a:pt x="133" y="78"/>
                  </a:cubicBezTo>
                  <a:cubicBezTo>
                    <a:pt x="133" y="93"/>
                    <a:pt x="127" y="107"/>
                    <a:pt x="117"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2">
              <a:extLst>
                <a:ext uri="{FF2B5EF4-FFF2-40B4-BE49-F238E27FC236}">
                  <a16:creationId xmlns:a16="http://schemas.microsoft.com/office/drawing/2014/main" id="{03297035-3DC4-487F-936D-0A257677B1DC}"/>
                </a:ext>
              </a:extLst>
            </p:cNvPr>
            <p:cNvSpPr>
              <a:spLocks/>
            </p:cNvSpPr>
            <p:nvPr/>
          </p:nvSpPr>
          <p:spPr bwMode="auto">
            <a:xfrm>
              <a:off x="7142956" y="3337545"/>
              <a:ext cx="217488" cy="161925"/>
            </a:xfrm>
            <a:custGeom>
              <a:avLst/>
              <a:gdLst>
                <a:gd name="T0" fmla="*/ 43 w 58"/>
                <a:gd name="T1" fmla="*/ 0 h 43"/>
                <a:gd name="T2" fmla="*/ 15 w 58"/>
                <a:gd name="T3" fmla="*/ 0 h 43"/>
                <a:gd name="T4" fmla="*/ 5 w 58"/>
                <a:gd name="T5" fmla="*/ 9 h 43"/>
                <a:gd name="T6" fmla="*/ 0 w 58"/>
                <a:gd name="T7" fmla="*/ 33 h 43"/>
                <a:gd name="T8" fmla="*/ 29 w 58"/>
                <a:gd name="T9" fmla="*/ 43 h 43"/>
                <a:gd name="T10" fmla="*/ 58 w 58"/>
                <a:gd name="T11" fmla="*/ 33 h 43"/>
                <a:gd name="T12" fmla="*/ 54 w 58"/>
                <a:gd name="T13" fmla="*/ 9 h 43"/>
                <a:gd name="T14" fmla="*/ 43 w 58"/>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0"/>
                  </a:moveTo>
                  <a:cubicBezTo>
                    <a:pt x="15" y="0"/>
                    <a:pt x="15" y="0"/>
                    <a:pt x="15" y="0"/>
                  </a:cubicBezTo>
                  <a:cubicBezTo>
                    <a:pt x="10" y="0"/>
                    <a:pt x="6" y="4"/>
                    <a:pt x="5" y="9"/>
                  </a:cubicBezTo>
                  <a:cubicBezTo>
                    <a:pt x="0" y="33"/>
                    <a:pt x="0" y="33"/>
                    <a:pt x="0" y="33"/>
                  </a:cubicBezTo>
                  <a:cubicBezTo>
                    <a:pt x="8" y="39"/>
                    <a:pt x="18" y="43"/>
                    <a:pt x="29" y="43"/>
                  </a:cubicBezTo>
                  <a:cubicBezTo>
                    <a:pt x="40" y="43"/>
                    <a:pt x="50" y="39"/>
                    <a:pt x="58" y="33"/>
                  </a:cubicBezTo>
                  <a:cubicBezTo>
                    <a:pt x="54" y="9"/>
                    <a:pt x="54" y="9"/>
                    <a:pt x="54" y="9"/>
                  </a:cubicBezTo>
                  <a:cubicBezTo>
                    <a:pt x="53" y="4"/>
                    <a:pt x="48" y="0"/>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23">
              <a:extLst>
                <a:ext uri="{FF2B5EF4-FFF2-40B4-BE49-F238E27FC236}">
                  <a16:creationId xmlns:a16="http://schemas.microsoft.com/office/drawing/2014/main" id="{836789AF-0FF0-4A1B-967E-CBEE1F33FD6F}"/>
                </a:ext>
              </a:extLst>
            </p:cNvPr>
            <p:cNvSpPr>
              <a:spLocks noChangeArrowheads="1"/>
            </p:cNvSpPr>
            <p:nvPr/>
          </p:nvSpPr>
          <p:spPr bwMode="auto">
            <a:xfrm>
              <a:off x="7176294" y="3161332"/>
              <a:ext cx="150813" cy="150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
              <a:extLst>
                <a:ext uri="{FF2B5EF4-FFF2-40B4-BE49-F238E27FC236}">
                  <a16:creationId xmlns:a16="http://schemas.microsoft.com/office/drawing/2014/main" id="{6B85233D-1E90-4EA4-BFB9-7280759B8DDF}"/>
                </a:ext>
              </a:extLst>
            </p:cNvPr>
            <p:cNvSpPr>
              <a:spLocks/>
            </p:cNvSpPr>
            <p:nvPr/>
          </p:nvSpPr>
          <p:spPr bwMode="auto">
            <a:xfrm>
              <a:off x="7520781" y="3334370"/>
              <a:ext cx="98425" cy="107950"/>
            </a:xfrm>
            <a:custGeom>
              <a:avLst/>
              <a:gdLst>
                <a:gd name="T0" fmla="*/ 6 w 26"/>
                <a:gd name="T1" fmla="*/ 29 h 29"/>
                <a:gd name="T2" fmla="*/ 26 w 26"/>
                <a:gd name="T3" fmla="*/ 22 h 29"/>
                <a:gd name="T4" fmla="*/ 23 w 26"/>
                <a:gd name="T5" fmla="*/ 5 h 29"/>
                <a:gd name="T6" fmla="*/ 16 w 26"/>
                <a:gd name="T7" fmla="*/ 0 h 29"/>
                <a:gd name="T8" fmla="*/ 7 w 26"/>
                <a:gd name="T9" fmla="*/ 0 h 29"/>
                <a:gd name="T10" fmla="*/ 0 w 26"/>
                <a:gd name="T11" fmla="*/ 29 h 29"/>
                <a:gd name="T12" fmla="*/ 6 w 2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6" h="29">
                  <a:moveTo>
                    <a:pt x="6" y="29"/>
                  </a:moveTo>
                  <a:cubicBezTo>
                    <a:pt x="13" y="29"/>
                    <a:pt x="20" y="26"/>
                    <a:pt x="26" y="22"/>
                  </a:cubicBezTo>
                  <a:cubicBezTo>
                    <a:pt x="23" y="5"/>
                    <a:pt x="23" y="5"/>
                    <a:pt x="23" y="5"/>
                  </a:cubicBezTo>
                  <a:cubicBezTo>
                    <a:pt x="22" y="2"/>
                    <a:pt x="19" y="0"/>
                    <a:pt x="16" y="0"/>
                  </a:cubicBezTo>
                  <a:cubicBezTo>
                    <a:pt x="7" y="0"/>
                    <a:pt x="7" y="0"/>
                    <a:pt x="7" y="0"/>
                  </a:cubicBezTo>
                  <a:cubicBezTo>
                    <a:pt x="7" y="9"/>
                    <a:pt x="4" y="19"/>
                    <a:pt x="0" y="29"/>
                  </a:cubicBezTo>
                  <a:cubicBezTo>
                    <a:pt x="2" y="29"/>
                    <a:pt x="4" y="29"/>
                    <a:pt x="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5">
              <a:extLst>
                <a:ext uri="{FF2B5EF4-FFF2-40B4-BE49-F238E27FC236}">
                  <a16:creationId xmlns:a16="http://schemas.microsoft.com/office/drawing/2014/main" id="{3D79C4EA-0335-4C4F-93C3-35373ACDA294}"/>
                </a:ext>
              </a:extLst>
            </p:cNvPr>
            <p:cNvSpPr>
              <a:spLocks/>
            </p:cNvSpPr>
            <p:nvPr/>
          </p:nvSpPr>
          <p:spPr bwMode="auto">
            <a:xfrm>
              <a:off x="7525544" y="3210545"/>
              <a:ext cx="66675" cy="101600"/>
            </a:xfrm>
            <a:custGeom>
              <a:avLst/>
              <a:gdLst>
                <a:gd name="T0" fmla="*/ 18 w 18"/>
                <a:gd name="T1" fmla="*/ 14 h 27"/>
                <a:gd name="T2" fmla="*/ 5 w 18"/>
                <a:gd name="T3" fmla="*/ 0 h 27"/>
                <a:gd name="T4" fmla="*/ 0 w 18"/>
                <a:gd name="T5" fmla="*/ 1 h 27"/>
                <a:gd name="T6" fmla="*/ 6 w 18"/>
                <a:gd name="T7" fmla="*/ 27 h 27"/>
                <a:gd name="T8" fmla="*/ 18 w 18"/>
                <a:gd name="T9" fmla="*/ 14 h 27"/>
              </a:gdLst>
              <a:ahLst/>
              <a:cxnLst>
                <a:cxn ang="0">
                  <a:pos x="T0" y="T1"/>
                </a:cxn>
                <a:cxn ang="0">
                  <a:pos x="T2" y="T3"/>
                </a:cxn>
                <a:cxn ang="0">
                  <a:pos x="T4" y="T5"/>
                </a:cxn>
                <a:cxn ang="0">
                  <a:pos x="T6" y="T7"/>
                </a:cxn>
                <a:cxn ang="0">
                  <a:pos x="T8" y="T9"/>
                </a:cxn>
              </a:cxnLst>
              <a:rect l="0" t="0" r="r" b="b"/>
              <a:pathLst>
                <a:path w="18" h="27">
                  <a:moveTo>
                    <a:pt x="18" y="14"/>
                  </a:moveTo>
                  <a:cubicBezTo>
                    <a:pt x="18" y="6"/>
                    <a:pt x="12" y="0"/>
                    <a:pt x="5" y="0"/>
                  </a:cubicBezTo>
                  <a:cubicBezTo>
                    <a:pt x="3" y="0"/>
                    <a:pt x="2" y="0"/>
                    <a:pt x="0" y="1"/>
                  </a:cubicBezTo>
                  <a:cubicBezTo>
                    <a:pt x="4" y="9"/>
                    <a:pt x="6" y="18"/>
                    <a:pt x="6" y="27"/>
                  </a:cubicBezTo>
                  <a:cubicBezTo>
                    <a:pt x="13" y="27"/>
                    <a:pt x="18" y="21"/>
                    <a:pt x="1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
              <a:extLst>
                <a:ext uri="{FF2B5EF4-FFF2-40B4-BE49-F238E27FC236}">
                  <a16:creationId xmlns:a16="http://schemas.microsoft.com/office/drawing/2014/main" id="{9928D2D1-9D2B-43C0-96CF-00C4577F859A}"/>
                </a:ext>
              </a:extLst>
            </p:cNvPr>
            <p:cNvSpPr>
              <a:spLocks/>
            </p:cNvSpPr>
            <p:nvPr/>
          </p:nvSpPr>
          <p:spPr bwMode="auto">
            <a:xfrm>
              <a:off x="6881019" y="3326432"/>
              <a:ext cx="96838" cy="109538"/>
            </a:xfrm>
            <a:custGeom>
              <a:avLst/>
              <a:gdLst>
                <a:gd name="T0" fmla="*/ 20 w 26"/>
                <a:gd name="T1" fmla="*/ 29 h 29"/>
                <a:gd name="T2" fmla="*/ 0 w 26"/>
                <a:gd name="T3" fmla="*/ 22 h 29"/>
                <a:gd name="T4" fmla="*/ 3 w 26"/>
                <a:gd name="T5" fmla="*/ 6 h 29"/>
                <a:gd name="T6" fmla="*/ 10 w 26"/>
                <a:gd name="T7" fmla="*/ 0 h 29"/>
                <a:gd name="T8" fmla="*/ 19 w 26"/>
                <a:gd name="T9" fmla="*/ 0 h 29"/>
                <a:gd name="T10" fmla="*/ 26 w 26"/>
                <a:gd name="T11" fmla="*/ 29 h 29"/>
                <a:gd name="T12" fmla="*/ 20 w 2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6" h="29">
                  <a:moveTo>
                    <a:pt x="20" y="29"/>
                  </a:moveTo>
                  <a:cubicBezTo>
                    <a:pt x="13" y="29"/>
                    <a:pt x="6" y="27"/>
                    <a:pt x="0" y="22"/>
                  </a:cubicBezTo>
                  <a:cubicBezTo>
                    <a:pt x="3" y="6"/>
                    <a:pt x="3" y="6"/>
                    <a:pt x="3" y="6"/>
                  </a:cubicBezTo>
                  <a:cubicBezTo>
                    <a:pt x="4" y="2"/>
                    <a:pt x="7" y="0"/>
                    <a:pt x="10" y="0"/>
                  </a:cubicBezTo>
                  <a:cubicBezTo>
                    <a:pt x="19" y="0"/>
                    <a:pt x="19" y="0"/>
                    <a:pt x="19" y="0"/>
                  </a:cubicBezTo>
                  <a:cubicBezTo>
                    <a:pt x="19" y="10"/>
                    <a:pt x="21" y="20"/>
                    <a:pt x="26" y="29"/>
                  </a:cubicBezTo>
                  <a:cubicBezTo>
                    <a:pt x="24" y="29"/>
                    <a:pt x="22" y="29"/>
                    <a:pt x="2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
              <a:extLst>
                <a:ext uri="{FF2B5EF4-FFF2-40B4-BE49-F238E27FC236}">
                  <a16:creationId xmlns:a16="http://schemas.microsoft.com/office/drawing/2014/main" id="{BAD1E751-D23B-47F1-B561-80387BD47E5D}"/>
                </a:ext>
              </a:extLst>
            </p:cNvPr>
            <p:cNvSpPr>
              <a:spLocks/>
            </p:cNvSpPr>
            <p:nvPr/>
          </p:nvSpPr>
          <p:spPr bwMode="auto">
            <a:xfrm>
              <a:off x="6906419" y="3202607"/>
              <a:ext cx="68263" cy="101600"/>
            </a:xfrm>
            <a:custGeom>
              <a:avLst/>
              <a:gdLst>
                <a:gd name="T0" fmla="*/ 0 w 18"/>
                <a:gd name="T1" fmla="*/ 14 h 27"/>
                <a:gd name="T2" fmla="*/ 13 w 18"/>
                <a:gd name="T3" fmla="*/ 0 h 27"/>
                <a:gd name="T4" fmla="*/ 18 w 18"/>
                <a:gd name="T5" fmla="*/ 1 h 27"/>
                <a:gd name="T6" fmla="*/ 12 w 18"/>
                <a:gd name="T7" fmla="*/ 27 h 27"/>
                <a:gd name="T8" fmla="*/ 0 w 18"/>
                <a:gd name="T9" fmla="*/ 14 h 27"/>
              </a:gdLst>
              <a:ahLst/>
              <a:cxnLst>
                <a:cxn ang="0">
                  <a:pos x="T0" y="T1"/>
                </a:cxn>
                <a:cxn ang="0">
                  <a:pos x="T2" y="T3"/>
                </a:cxn>
                <a:cxn ang="0">
                  <a:pos x="T4" y="T5"/>
                </a:cxn>
                <a:cxn ang="0">
                  <a:pos x="T6" y="T7"/>
                </a:cxn>
                <a:cxn ang="0">
                  <a:pos x="T8" y="T9"/>
                </a:cxn>
              </a:cxnLst>
              <a:rect l="0" t="0" r="r" b="b"/>
              <a:pathLst>
                <a:path w="18" h="27">
                  <a:moveTo>
                    <a:pt x="0" y="14"/>
                  </a:moveTo>
                  <a:cubicBezTo>
                    <a:pt x="0" y="6"/>
                    <a:pt x="6" y="0"/>
                    <a:pt x="13" y="0"/>
                  </a:cubicBezTo>
                  <a:cubicBezTo>
                    <a:pt x="15" y="0"/>
                    <a:pt x="16" y="0"/>
                    <a:pt x="18" y="1"/>
                  </a:cubicBezTo>
                  <a:cubicBezTo>
                    <a:pt x="14" y="9"/>
                    <a:pt x="12" y="18"/>
                    <a:pt x="12" y="27"/>
                  </a:cubicBezTo>
                  <a:cubicBezTo>
                    <a:pt x="5" y="27"/>
                    <a:pt x="0" y="21"/>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122" name="Picture 2" descr="Image result for infrastructure symbol"/>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71721" y="5002207"/>
            <a:ext cx="519071" cy="519071"/>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7106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253" y="1125453"/>
            <a:ext cx="5101391" cy="609600"/>
          </a:xfrm>
        </p:spPr>
        <p:txBody>
          <a:bodyPr/>
          <a:lstStyle/>
          <a:p>
            <a:r>
              <a:rPr lang="en-US" sz="3600" dirty="0"/>
              <a:t>  </a:t>
            </a:r>
            <a:r>
              <a:rPr lang="en-US" sz="2800" dirty="0"/>
              <a:t>Project</a:t>
            </a:r>
            <a:r>
              <a:rPr lang="en-US" sz="3600" dirty="0"/>
              <a:t> Components</a:t>
            </a:r>
            <a:br>
              <a:rPr lang="en-US" sz="3600" dirty="0"/>
            </a:br>
            <a:endParaRPr lang="en-US" sz="3600" dirty="0"/>
          </a:p>
        </p:txBody>
      </p:sp>
      <p:sp>
        <p:nvSpPr>
          <p:cNvPr id="3" name="Content Placeholder 2"/>
          <p:cNvSpPr>
            <a:spLocks noGrp="1"/>
          </p:cNvSpPr>
          <p:nvPr>
            <p:ph idx="1"/>
          </p:nvPr>
        </p:nvSpPr>
        <p:spPr>
          <a:xfrm>
            <a:off x="989556" y="2229633"/>
            <a:ext cx="9256734" cy="3194138"/>
          </a:xfrm>
        </p:spPr>
        <p:txBody>
          <a:bodyPr/>
          <a:lstStyle/>
          <a:p>
            <a:pPr marL="457200" indent="-457200">
              <a:buFont typeface="+mj-lt"/>
              <a:buAutoNum type="arabicPeriod"/>
            </a:pPr>
            <a:r>
              <a:rPr lang="en-US" sz="2800" b="1" dirty="0">
                <a:solidFill>
                  <a:schemeClr val="tx2"/>
                </a:solidFill>
              </a:rPr>
              <a:t>Community Development</a:t>
            </a:r>
          </a:p>
          <a:p>
            <a:pPr marL="857250" lvl="1" indent="-457200">
              <a:buFont typeface="+mj-lt"/>
              <a:buAutoNum type="alphaLcPeriod"/>
            </a:pPr>
            <a:r>
              <a:rPr lang="en-US" sz="2400" b="1" dirty="0">
                <a:solidFill>
                  <a:schemeClr val="tx2"/>
                </a:solidFill>
              </a:rPr>
              <a:t>Capacity Building for Participatory Development</a:t>
            </a:r>
          </a:p>
          <a:p>
            <a:pPr marL="857250" lvl="1" indent="-457200">
              <a:buFont typeface="+mj-lt"/>
              <a:buAutoNum type="alphaLcPeriod"/>
            </a:pPr>
            <a:r>
              <a:rPr lang="en-US" sz="2400" b="1" dirty="0">
                <a:solidFill>
                  <a:schemeClr val="tx2"/>
                </a:solidFill>
              </a:rPr>
              <a:t>Youth Employment</a:t>
            </a:r>
          </a:p>
          <a:p>
            <a:pPr marL="857250" lvl="1" indent="-457200">
              <a:buFont typeface="+mj-lt"/>
              <a:buAutoNum type="alphaLcPeriod"/>
            </a:pPr>
            <a:r>
              <a:rPr lang="en-US" sz="2400" b="1" dirty="0">
                <a:solidFill>
                  <a:schemeClr val="tx2"/>
                </a:solidFill>
              </a:rPr>
              <a:t>Asset Transfer</a:t>
            </a:r>
          </a:p>
          <a:p>
            <a:pPr marL="857250" lvl="1" indent="-457200">
              <a:buFont typeface="+mj-lt"/>
              <a:buAutoNum type="alphaLcPeriod"/>
            </a:pPr>
            <a:r>
              <a:rPr lang="en-US" sz="2400" b="1" dirty="0">
                <a:solidFill>
                  <a:schemeClr val="tx2"/>
                </a:solidFill>
              </a:rPr>
              <a:t>Women Empowerment</a:t>
            </a:r>
          </a:p>
          <a:p>
            <a:pPr marL="857250" lvl="1" indent="-457200">
              <a:buFont typeface="+mj-lt"/>
              <a:buAutoNum type="alphaLcPeriod"/>
            </a:pPr>
            <a:r>
              <a:rPr lang="en-US" sz="2400" b="1" dirty="0">
                <a:solidFill>
                  <a:schemeClr val="tx2"/>
                </a:solidFill>
              </a:rPr>
              <a:t>Farm to Market Roads</a:t>
            </a:r>
          </a:p>
          <a:p>
            <a:pPr marL="857250" lvl="1" indent="-457200">
              <a:buFont typeface="+mj-lt"/>
              <a:buAutoNum type="alphaLcPeriod"/>
            </a:pPr>
            <a:r>
              <a:rPr lang="en-US" sz="2400" b="1" dirty="0">
                <a:solidFill>
                  <a:schemeClr val="tx2"/>
                </a:solidFill>
              </a:rPr>
              <a:t>Community Physical Infrastructure</a:t>
            </a:r>
          </a:p>
          <a:p>
            <a:pPr marL="857250" lvl="1" indent="-457200">
              <a:buFont typeface="+mj-lt"/>
              <a:buAutoNum type="alphaLcPeriod"/>
            </a:pPr>
            <a:r>
              <a:rPr lang="en-US" sz="2400" b="1" dirty="0">
                <a:solidFill>
                  <a:schemeClr val="tx2"/>
                </a:solidFill>
              </a:rPr>
              <a:t>Collaborative Interventions</a:t>
            </a:r>
          </a:p>
        </p:txBody>
      </p:sp>
    </p:spTree>
    <p:extLst>
      <p:ext uri="{BB962C8B-B14F-4D97-AF65-F5344CB8AC3E}">
        <p14:creationId xmlns:p14="http://schemas.microsoft.com/office/powerpoint/2010/main" val="38952451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253" y="1125453"/>
            <a:ext cx="5101391" cy="609600"/>
          </a:xfrm>
        </p:spPr>
        <p:txBody>
          <a:bodyPr/>
          <a:lstStyle/>
          <a:p>
            <a:r>
              <a:rPr lang="en-US" sz="3600" dirty="0"/>
              <a:t>  </a:t>
            </a:r>
            <a:r>
              <a:rPr lang="en-US" sz="2800" dirty="0"/>
              <a:t>Project</a:t>
            </a:r>
            <a:r>
              <a:rPr lang="en-US" sz="3600" dirty="0"/>
              <a:t> Components</a:t>
            </a:r>
            <a:br>
              <a:rPr lang="en-US" sz="3600" dirty="0"/>
            </a:br>
            <a:endParaRPr lang="en-US" sz="3600" dirty="0"/>
          </a:p>
        </p:txBody>
      </p:sp>
      <p:sp>
        <p:nvSpPr>
          <p:cNvPr id="3" name="Content Placeholder 2"/>
          <p:cNvSpPr>
            <a:spLocks noGrp="1"/>
          </p:cNvSpPr>
          <p:nvPr>
            <p:ph idx="1"/>
          </p:nvPr>
        </p:nvSpPr>
        <p:spPr>
          <a:xfrm>
            <a:off x="1077054" y="1732862"/>
            <a:ext cx="10037891" cy="3999685"/>
          </a:xfrm>
        </p:spPr>
        <p:txBody>
          <a:bodyPr/>
          <a:lstStyle/>
          <a:p>
            <a:pPr marL="457200" indent="-457200">
              <a:buFont typeface="+mj-lt"/>
              <a:buAutoNum type="arabicPeriod" startAt="2"/>
            </a:pPr>
            <a:r>
              <a:rPr lang="en-US" sz="2800" b="1" dirty="0">
                <a:solidFill>
                  <a:schemeClr val="tx2"/>
                </a:solidFill>
              </a:rPr>
              <a:t>Fisheries Value Chain Development</a:t>
            </a:r>
          </a:p>
          <a:p>
            <a:pPr marL="857250" lvl="1" indent="-457200">
              <a:buFont typeface="+mj-lt"/>
              <a:buAutoNum type="alphaLcPeriod"/>
            </a:pPr>
            <a:r>
              <a:rPr lang="en-US" sz="2400" b="1" dirty="0">
                <a:solidFill>
                  <a:schemeClr val="tx2"/>
                </a:solidFill>
              </a:rPr>
              <a:t>Jetties and Allied Infrastructure</a:t>
            </a:r>
          </a:p>
          <a:p>
            <a:pPr marL="857250" lvl="1" indent="-457200">
              <a:buFont typeface="+mj-lt"/>
              <a:buAutoNum type="alphaLcPeriod"/>
            </a:pPr>
            <a:r>
              <a:rPr lang="en-US" sz="2400" b="1" dirty="0">
                <a:solidFill>
                  <a:schemeClr val="tx2"/>
                </a:solidFill>
              </a:rPr>
              <a:t>Fisheries Value Chain Development</a:t>
            </a:r>
          </a:p>
          <a:p>
            <a:pPr marL="857250" lvl="1" indent="-457200">
              <a:buFont typeface="+mj-lt"/>
              <a:buAutoNum type="alphaLcPeriod"/>
            </a:pPr>
            <a:r>
              <a:rPr lang="en-US" sz="2400" b="1" dirty="0">
                <a:solidFill>
                  <a:schemeClr val="tx2"/>
                </a:solidFill>
              </a:rPr>
              <a:t>Fish Market Access Roads</a:t>
            </a:r>
          </a:p>
          <a:p>
            <a:pPr marL="857250" lvl="1" indent="-457200">
              <a:buFont typeface="+mj-lt"/>
              <a:buAutoNum type="alphaLcPeriod"/>
            </a:pPr>
            <a:r>
              <a:rPr lang="en-US" sz="2400" b="1" dirty="0">
                <a:solidFill>
                  <a:schemeClr val="tx2"/>
                </a:solidFill>
              </a:rPr>
              <a:t>Capacity Building - Department of Fisheries</a:t>
            </a:r>
          </a:p>
          <a:p>
            <a:pPr marL="857250" lvl="1" indent="-457200">
              <a:buFont typeface="+mj-lt"/>
              <a:buAutoNum type="alphaLcPeriod"/>
            </a:pPr>
            <a:r>
              <a:rPr lang="en-US" sz="2400" b="1" dirty="0">
                <a:solidFill>
                  <a:schemeClr val="tx2"/>
                </a:solidFill>
              </a:rPr>
              <a:t>Hatcheries and Innovative Aquaculture</a:t>
            </a:r>
          </a:p>
          <a:p>
            <a:pPr marL="457200" indent="-457200">
              <a:buFont typeface="+mj-lt"/>
              <a:buAutoNum type="arabicPeriod" startAt="2"/>
            </a:pPr>
            <a:r>
              <a:rPr lang="en-US" sz="2800" b="1" dirty="0">
                <a:solidFill>
                  <a:schemeClr val="tx2"/>
                </a:solidFill>
              </a:rPr>
              <a:t>Project Management</a:t>
            </a:r>
          </a:p>
          <a:p>
            <a:pPr marL="857250" lvl="1" indent="-457200">
              <a:buFont typeface="+mj-lt"/>
              <a:buAutoNum type="alphaLcPeriod"/>
            </a:pPr>
            <a:r>
              <a:rPr lang="en-US" sz="2400" b="1" dirty="0">
                <a:solidFill>
                  <a:schemeClr val="tx2"/>
                </a:solidFill>
              </a:rPr>
              <a:t>Project management units</a:t>
            </a:r>
          </a:p>
          <a:p>
            <a:pPr marL="857250" lvl="1" indent="-457200">
              <a:buFont typeface="+mj-lt"/>
              <a:buAutoNum type="alphaLcPeriod"/>
            </a:pPr>
            <a:r>
              <a:rPr lang="en-US" sz="2400" b="1" dirty="0">
                <a:solidFill>
                  <a:schemeClr val="tx2"/>
                </a:solidFill>
              </a:rPr>
              <a:t>Policy support and TA (Fisheries Policy)</a:t>
            </a:r>
          </a:p>
        </p:txBody>
      </p:sp>
    </p:spTree>
    <p:extLst>
      <p:ext uri="{BB962C8B-B14F-4D97-AF65-F5344CB8AC3E}">
        <p14:creationId xmlns:p14="http://schemas.microsoft.com/office/powerpoint/2010/main" val="2517936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KGkZ4LURJe3cqvz_.qZZQ"/>
</p:tagLst>
</file>

<file path=ppt/theme/theme1.xml><?xml version="1.0" encoding="utf-8"?>
<a:theme xmlns:a="http://schemas.openxmlformats.org/drawingml/2006/main" name="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13968</TotalTime>
  <Words>1146</Words>
  <Application>Microsoft Office PowerPoint</Application>
  <PresentationFormat>Widescreen</PresentationFormat>
  <Paragraphs>190</Paragraphs>
  <Slides>18</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Wingdings</vt:lpstr>
      <vt:lpstr>Blank</vt:lpstr>
      <vt:lpstr>think-cell Slide</vt:lpstr>
      <vt:lpstr>PowerPoint Presentation</vt:lpstr>
      <vt:lpstr>Gwadar - Lasbela Livelihoods Support Project (GLLSP) - II    </vt:lpstr>
      <vt:lpstr>GLLSP Phase - II</vt:lpstr>
      <vt:lpstr>Project Outcomes – GLLSP II</vt:lpstr>
      <vt:lpstr>Project Cost Details (PKR) – GLLSP II</vt:lpstr>
      <vt:lpstr>Component 1 – Community Development</vt:lpstr>
      <vt:lpstr> Component 2 -  Fisheries Value Chain Development</vt:lpstr>
      <vt:lpstr>  Project Components </vt:lpstr>
      <vt:lpstr>  Project Components </vt:lpstr>
      <vt:lpstr>Components </vt:lpstr>
      <vt:lpstr>PowerPoint Presentation</vt:lpstr>
      <vt:lpstr>  GLLSP-Phase II Snapshots</vt:lpstr>
      <vt:lpstr>PowerPoint Presentation</vt:lpstr>
      <vt:lpstr>PowerPoint Presentation</vt:lpstr>
      <vt:lpstr>Implementation Arrangement</vt:lpstr>
      <vt:lpstr>PowerPoint Presentation</vt:lpstr>
      <vt:lpstr>PowerPoint Presentation</vt:lpstr>
      <vt:lpstr>PowerPoint Presentation</vt:lpstr>
    </vt:vector>
  </TitlesOfParts>
  <Company>Project Management Unit (PMU), P&amp;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LSP</dc:title>
  <dc:subject>Gwadar Lasbela Livelihood Support Project</dc:subject>
  <dc:creator>Saif Ullah</dc:creator>
  <cp:lastModifiedBy>Saif Ullah</cp:lastModifiedBy>
  <cp:revision>999</cp:revision>
  <cp:lastPrinted>2022-02-21T10:33:21Z</cp:lastPrinted>
  <dcterms:created xsi:type="dcterms:W3CDTF">2012-08-24T07:07:47Z</dcterms:created>
  <dcterms:modified xsi:type="dcterms:W3CDTF">2022-08-15T11:45:49Z</dcterms:modified>
</cp:coreProperties>
</file>